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1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13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81.xml" ContentType="application/vnd.openxmlformats-officedocument.presentationml.tags+xml"/>
  <Override PartName="/ppt/notesSlides/notesSlide1.xml" ContentType="application/vnd.openxmlformats-officedocument.presentationml.notesSlide+xml"/>
  <Override PartName="/ppt/tags/tag8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3.xml" ContentType="application/vnd.openxmlformats-officedocument.presentationml.tags+xml"/>
  <Override PartName="/ppt/notesSlides/notesSlide3.xml" ContentType="application/vnd.openxmlformats-officedocument.presentationml.notesSlide+xml"/>
  <Override PartName="/ppt/tags/tag84.xml" ContentType="application/vnd.openxmlformats-officedocument.presentationml.tags+xml"/>
  <Override PartName="/ppt/notesSlides/notesSlide4.xml" ContentType="application/vnd.openxmlformats-officedocument.presentationml.notesSlide+xml"/>
  <Override PartName="/ppt/tags/tag8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1" r:id="rId4"/>
    <p:sldMasterId id="2147483785" r:id="rId5"/>
    <p:sldMasterId id="2147483801" r:id="rId6"/>
    <p:sldMasterId id="2147483807" r:id="rId7"/>
    <p:sldMasterId id="2147483978" r:id="rId8"/>
    <p:sldMasterId id="2147484033" r:id="rId9"/>
    <p:sldMasterId id="2147484086" r:id="rId10"/>
    <p:sldMasterId id="2147484105" r:id="rId11"/>
    <p:sldMasterId id="2147484113" r:id="rId12"/>
    <p:sldMasterId id="2147484134" r:id="rId13"/>
    <p:sldMasterId id="2147484217" r:id="rId14"/>
    <p:sldMasterId id="2147484235" r:id="rId15"/>
    <p:sldMasterId id="2147484281" r:id="rId16"/>
  </p:sldMasterIdLst>
  <p:notesMasterIdLst>
    <p:notesMasterId r:id="rId34"/>
  </p:notesMasterIdLst>
  <p:handoutMasterIdLst>
    <p:handoutMasterId r:id="rId35"/>
  </p:handoutMasterIdLst>
  <p:sldIdLst>
    <p:sldId id="375" r:id="rId17"/>
    <p:sldId id="1810" r:id="rId18"/>
    <p:sldId id="1822" r:id="rId19"/>
    <p:sldId id="402" r:id="rId20"/>
    <p:sldId id="1811" r:id="rId21"/>
    <p:sldId id="1812" r:id="rId22"/>
    <p:sldId id="1818" r:id="rId23"/>
    <p:sldId id="1819" r:id="rId24"/>
    <p:sldId id="433" r:id="rId25"/>
    <p:sldId id="403" r:id="rId26"/>
    <p:sldId id="1823" r:id="rId27"/>
    <p:sldId id="1824" r:id="rId28"/>
    <p:sldId id="1820" r:id="rId29"/>
    <p:sldId id="1821" r:id="rId30"/>
    <p:sldId id="1826" r:id="rId31"/>
    <p:sldId id="1825" r:id="rId32"/>
    <p:sldId id="418" r:id="rId33"/>
  </p:sldIdLst>
  <p:sldSz cx="10972800" cy="8229600" type="B4JIS"/>
  <p:notesSz cx="9601200" cy="7315200"/>
  <p:custDataLst>
    <p:tags r:id="rId3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eneral Template Information" id="{F1D2AF97-5ED6-4D0B-BF34-7940BD1C8725}">
          <p14:sldIdLst>
            <p14:sldId id="375"/>
            <p14:sldId id="1810"/>
            <p14:sldId id="1822"/>
            <p14:sldId id="402"/>
            <p14:sldId id="1811"/>
            <p14:sldId id="1812"/>
            <p14:sldId id="1818"/>
            <p14:sldId id="1819"/>
            <p14:sldId id="433"/>
            <p14:sldId id="403"/>
            <p14:sldId id="1823"/>
            <p14:sldId id="1824"/>
            <p14:sldId id="1820"/>
            <p14:sldId id="1821"/>
            <p14:sldId id="1826"/>
            <p14:sldId id="1825"/>
            <p14:sldId id="418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4488" userDrawn="1">
          <p15:clr>
            <a:srgbClr val="A4A3A4"/>
          </p15:clr>
        </p15:guide>
        <p15:guide id="5" orient="horz" pos="2808" userDrawn="1">
          <p15:clr>
            <a:srgbClr val="A4A3A4"/>
          </p15:clr>
        </p15:guide>
        <p15:guide id="8" orient="horz" pos="1056" userDrawn="1">
          <p15:clr>
            <a:srgbClr val="A4A3A4"/>
          </p15:clr>
        </p15:guide>
        <p15:guide id="9" orient="horz" pos="1104" userDrawn="1">
          <p15:clr>
            <a:srgbClr val="A4A3A4"/>
          </p15:clr>
        </p15:guide>
        <p15:guide id="10" pos="2394" userDrawn="1">
          <p15:clr>
            <a:srgbClr val="A4A3A4"/>
          </p15:clr>
        </p15:guide>
        <p15:guide id="11" pos="4706" userDrawn="1">
          <p15:clr>
            <a:srgbClr val="A4A3A4"/>
          </p15:clr>
        </p15:guide>
        <p15:guide id="12" pos="1965" userDrawn="1">
          <p15:clr>
            <a:srgbClr val="A4A3A4"/>
          </p15:clr>
        </p15:guide>
        <p15:guide id="13" pos="3580" userDrawn="1">
          <p15:clr>
            <a:srgbClr val="A4A3A4"/>
          </p15:clr>
        </p15:guide>
        <p15:guide id="14" pos="5195" userDrawn="1">
          <p15:clr>
            <a:srgbClr val="A4A3A4"/>
          </p15:clr>
        </p15:guide>
        <p15:guide id="15" orient="horz" pos="26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304" userDrawn="1">
          <p15:clr>
            <a:srgbClr val="A4A3A4"/>
          </p15:clr>
        </p15:guide>
        <p15:guide id="2" pos="30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9FF"/>
    <a:srgbClr val="00D9A7"/>
    <a:srgbClr val="002677"/>
    <a:srgbClr val="D6E1FF"/>
    <a:srgbClr val="73BFFF"/>
    <a:srgbClr val="E9E9E9"/>
    <a:srgbClr val="CACACA"/>
    <a:srgbClr val="005F66"/>
    <a:srgbClr val="F2F2F2"/>
    <a:srgbClr val="7578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636" autoAdjust="0"/>
    <p:restoredTop sz="96259"/>
  </p:normalViewPr>
  <p:slideViewPr>
    <p:cSldViewPr snapToGrid="0" snapToObjects="1" showGuides="1">
      <p:cViewPr varScale="1">
        <p:scale>
          <a:sx n="49" d="100"/>
          <a:sy n="49" d="100"/>
        </p:scale>
        <p:origin x="584" y="80"/>
      </p:cViewPr>
      <p:guideLst>
        <p:guide orient="horz" pos="4488"/>
        <p:guide orient="horz" pos="2808"/>
        <p:guide orient="horz" pos="1056"/>
        <p:guide orient="horz" pos="1104"/>
        <p:guide pos="2394"/>
        <p:guide pos="4706"/>
        <p:guide pos="1965"/>
        <p:guide pos="3580"/>
        <p:guide pos="5195"/>
        <p:guide orient="horz" pos="268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5" d="100"/>
        <a:sy n="55" d="100"/>
      </p:scale>
      <p:origin x="0" y="0"/>
    </p:cViewPr>
  </p:sorterViewPr>
  <p:notesViewPr>
    <p:cSldViewPr snapToGrid="0" snapToObjects="1" showGuides="1">
      <p:cViewPr varScale="1">
        <p:scale>
          <a:sx n="150" d="100"/>
          <a:sy n="150" d="100"/>
        </p:scale>
        <p:origin x="4024" y="184"/>
      </p:cViewPr>
      <p:guideLst>
        <p:guide orient="horz" pos="2304"/>
        <p:guide pos="30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theme" Target="theme/theme1.xml"/><Relationship Id="rId21" Type="http://schemas.openxmlformats.org/officeDocument/2006/relationships/slide" Target="slides/slide5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84F840A-A362-44C5-B9FE-A4C4688FABDD}" type="doc">
      <dgm:prSet loTypeId="urn:microsoft.com/office/officeart/2005/8/layout/hList6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E9007E28-0967-49BC-9D49-2F6BD0133E4B}">
      <dgm:prSet phldrT="[Text]"/>
      <dgm:spPr>
        <a:xfrm rot="16200000">
          <a:off x="-2095132" y="2097484"/>
          <a:ext cx="6502400" cy="2307431"/>
        </a:xfrm>
        <a:prstGeom prst="flowChartManualOperation">
          <a:avLst/>
        </a:prstGeom>
        <a:solidFill>
          <a:srgbClr val="73B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Federal Perkins Loan Program</a:t>
          </a:r>
          <a:endParaRPr lang="en-US" b="1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gm:t>
    </dgm:pt>
    <dgm:pt modelId="{C2244E3A-2CF4-40CD-82A6-948005743614}" type="parTrans" cxnId="{88AB981E-74D8-4837-9791-F0A187911CFF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6A7E536-A9CE-4C76-BA53-CA694476825C}" type="sibTrans" cxnId="{88AB981E-74D8-4837-9791-F0A187911CFF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F73001A-6BC1-444C-B463-24D1C48D7A73}">
      <dgm:prSet phldrT="[Text]"/>
      <dgm:spPr>
        <a:xfrm rot="16200000">
          <a:off x="385355" y="2097484"/>
          <a:ext cx="6502400" cy="2307431"/>
        </a:xfrm>
        <a:prstGeom prst="flowChartManualOperation">
          <a:avLst/>
        </a:prstGeom>
        <a:solidFill>
          <a:srgbClr val="00D9A7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US" dirty="0">
              <a:latin typeface="Segoe UI" panose="020B0502040204020203" pitchFamily="34" charset="0"/>
              <a:cs typeface="Segoe UI" panose="020B0502040204020203" pitchFamily="34" charset="0"/>
            </a:rPr>
            <a:t>Loans made by banks, guaranteed by Education Department</a:t>
          </a:r>
          <a:endParaRPr lang="en-US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gm:t>
    </dgm:pt>
    <dgm:pt modelId="{00385985-B57F-4DD7-BE66-0057E7022C10}" type="parTrans" cxnId="{2A683F55-16BD-4CB0-B148-A503A0818AC9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557AD904-00C0-44E6-AD79-F8A41DE01167}" type="sibTrans" cxnId="{2A683F55-16BD-4CB0-B148-A503A0818AC9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3832EF21-3B95-45ED-ACD0-1881E4010443}">
      <dgm:prSet phldrT="[Text]"/>
      <dgm:spPr>
        <a:xfrm rot="16200000">
          <a:off x="2865844" y="2097484"/>
          <a:ext cx="6502400" cy="2307431"/>
        </a:xfrm>
        <a:prstGeom prst="flowChartManualOperation">
          <a:avLst/>
        </a:prstGeom>
        <a:solidFill>
          <a:srgbClr val="005F66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Direct Loan (DL) Program</a:t>
          </a:r>
          <a:endParaRPr lang="en-US" b="1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gm:t>
    </dgm:pt>
    <dgm:pt modelId="{03AF6D04-19E3-470D-A1FF-FB81B8D2CC13}" type="parTrans" cxnId="{8ADAC230-8519-462C-A9A8-E01E9F98E6BB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38A2A5D0-BAB0-4FB0-8F57-8B980D52633C}" type="sibTrans" cxnId="{8ADAC230-8519-462C-A9A8-E01E9F98E6BB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5B2DDBB-AEFD-418E-83CA-5071CCC1675E}">
      <dgm:prSet phldrT="[Text]"/>
      <dgm:spPr>
        <a:xfrm rot="16200000">
          <a:off x="2865844" y="2097484"/>
          <a:ext cx="6502400" cy="2307431"/>
        </a:xfrm>
        <a:prstGeom prst="flowChartManualOperation">
          <a:avLst/>
        </a:prstGeom>
        <a:solidFill>
          <a:srgbClr val="005F66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rgbClr val="FFFFFF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rPr>
            <a:t>Loans made by Education department</a:t>
          </a:r>
        </a:p>
      </dgm:t>
    </dgm:pt>
    <dgm:pt modelId="{70A2DC30-E93B-41E5-AE53-67D65A188049}" type="parTrans" cxnId="{B3A76D98-958F-413C-84E4-02AE10EC15D7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5D34BA36-960A-46F8-8EA2-64D589E3C2FC}" type="sibTrans" cxnId="{B3A76D98-958F-413C-84E4-02AE10EC15D7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3613E0B-DFF3-440A-AB05-CE9D7993EF6B}">
      <dgm:prSet phldrT="[Text]"/>
      <dgm:spPr>
        <a:xfrm rot="16200000">
          <a:off x="5346332" y="2097484"/>
          <a:ext cx="6502400" cy="2307431"/>
        </a:xfrm>
        <a:prstGeom prst="flowChartManualOperation">
          <a:avLst/>
        </a:prstGeom>
        <a:solidFill>
          <a:srgbClr val="75787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Parent Plus Loans</a:t>
          </a:r>
          <a:endParaRPr lang="en-US" b="1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gm:t>
    </dgm:pt>
    <dgm:pt modelId="{FFAF7417-55BB-4587-8BA6-50FB70FC554B}" type="parTrans" cxnId="{5D212D45-BEDE-4889-8836-007C93814E67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B1A69CB-1E0F-407F-8A10-4590FB31B1AD}" type="sibTrans" cxnId="{5D212D45-BEDE-4889-8836-007C93814E67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8A683C86-6AE6-496D-A08A-425BD412C075}">
      <dgm:prSet phldrT="[Text]"/>
      <dgm:spPr>
        <a:xfrm rot="16200000">
          <a:off x="5346332" y="2097484"/>
          <a:ext cx="6502400" cy="2307431"/>
        </a:xfrm>
        <a:prstGeom prst="flowChartManualOperation">
          <a:avLst/>
        </a:prstGeom>
        <a:solidFill>
          <a:srgbClr val="75787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rgbClr val="FFFFFF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rPr>
            <a:t>Federal loans made by parents to pay for children’s school</a:t>
          </a:r>
        </a:p>
      </dgm:t>
    </dgm:pt>
    <dgm:pt modelId="{A0263F97-CC27-44EE-B45F-FB3855D057F3}" type="parTrans" cxnId="{3D9D6808-F75B-4773-8306-D6DB377E6953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6FAE1F07-939D-49F0-A545-CAD9769A5F42}" type="sibTrans" cxnId="{3D9D6808-F75B-4773-8306-D6DB377E6953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12EDA70E-AB30-4D5B-9589-F0AA4D18FEB8}">
      <dgm:prSet phldrT="[Text]"/>
      <dgm:spPr>
        <a:xfrm rot="16200000">
          <a:off x="385355" y="2097484"/>
          <a:ext cx="6502400" cy="2307431"/>
        </a:xfrm>
        <a:prstGeom prst="flowChartManualOperation">
          <a:avLst/>
        </a:prstGeom>
        <a:solidFill>
          <a:srgbClr val="00D9A7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US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Federal Family Education Loan (FFEL)</a:t>
          </a:r>
          <a:r>
            <a:rPr lang="en-US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Program</a:t>
          </a:r>
          <a:endParaRPr lang="en-US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gm:t>
    </dgm:pt>
    <dgm:pt modelId="{42095A43-0FF9-47FC-BBDF-DCEC19847B6F}" type="parTrans" cxnId="{DC7E5E09-F0B5-4AD0-A63F-00900C3B2459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EC3D2638-6D75-4D0B-87E9-1C27E26E8F91}" type="sibTrans" cxnId="{DC7E5E09-F0B5-4AD0-A63F-00900C3B2459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9F6E32B-1229-47AA-A84A-447650C00DC3}">
      <dgm:prSet phldrT="[Text]"/>
      <dgm:spPr>
        <a:xfrm rot="16200000">
          <a:off x="-2095132" y="2097484"/>
          <a:ext cx="6502400" cy="2307431"/>
        </a:xfrm>
        <a:solidFill>
          <a:srgbClr val="73B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r>
            <a:rPr lang="en-US" dirty="0">
              <a:latin typeface="Segoe UI" panose="020B0502040204020203" pitchFamily="34" charset="0"/>
              <a:cs typeface="Segoe UI" panose="020B0502040204020203" pitchFamily="34" charset="0"/>
            </a:rPr>
            <a:t>Loans made by schools</a:t>
          </a:r>
          <a:endParaRPr lang="en-US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gm:t>
    </dgm:pt>
    <dgm:pt modelId="{675B30FB-DAE6-4155-BE34-C005FA76A130}" type="parTrans" cxnId="{5E9A1989-BF78-48E7-B547-2FFC21496958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FB37B72F-E7F2-4D56-92FF-A2A26CD95ED2}" type="sibTrans" cxnId="{5E9A1989-BF78-48E7-B547-2FFC21496958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7E3B5E7C-52C4-416C-80F1-C4CEB48ECCB9}">
      <dgm:prSet phldrT="[Text]"/>
      <dgm:spPr>
        <a:xfrm rot="16200000">
          <a:off x="5346332" y="2097484"/>
          <a:ext cx="6502400" cy="2307431"/>
        </a:xfrm>
        <a:solidFill>
          <a:srgbClr val="75787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n-US" dirty="0">
              <a:solidFill>
                <a:srgbClr val="FFFFFF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rPr>
            <a:t>Parent is the “borrower” and liable for repayment</a:t>
          </a:r>
        </a:p>
      </dgm:t>
    </dgm:pt>
    <dgm:pt modelId="{BE8AA234-BEAE-432D-9040-EC41091F2B10}" type="parTrans" cxnId="{6317B006-FE49-4412-AB12-7CFEDF482BF3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402D52DA-12F6-46F5-BBE5-5CF8D3226188}" type="sibTrans" cxnId="{6317B006-FE49-4412-AB12-7CFEDF482BF3}">
      <dgm:prSet/>
      <dgm:spPr/>
      <dgm:t>
        <a:bodyPr/>
        <a:lstStyle/>
        <a:p>
          <a:endParaRPr lang="en-US">
            <a:latin typeface="Segoe UI" panose="020B0502040204020203" pitchFamily="34" charset="0"/>
            <a:cs typeface="Segoe UI" panose="020B0502040204020203" pitchFamily="34" charset="0"/>
          </a:endParaRPr>
        </a:p>
      </dgm:t>
    </dgm:pt>
    <dgm:pt modelId="{BFA543E6-2273-4CA8-B1CA-B8A4C1A15EC0}" type="pres">
      <dgm:prSet presAssocID="{984F840A-A362-44C5-B9FE-A4C4688FABDD}" presName="Name0" presStyleCnt="0">
        <dgm:presLayoutVars>
          <dgm:dir/>
          <dgm:resizeHandles val="exact"/>
        </dgm:presLayoutVars>
      </dgm:prSet>
      <dgm:spPr/>
    </dgm:pt>
    <dgm:pt modelId="{F5C2865C-092E-48A7-AF6E-B46C14A4C682}" type="pres">
      <dgm:prSet presAssocID="{E9007E28-0967-49BC-9D49-2F6BD0133E4B}" presName="node" presStyleLbl="node1" presStyleIdx="0" presStyleCnt="4">
        <dgm:presLayoutVars>
          <dgm:bulletEnabled val="1"/>
        </dgm:presLayoutVars>
      </dgm:prSet>
      <dgm:spPr/>
    </dgm:pt>
    <dgm:pt modelId="{924BB8C1-D649-44DC-ADB8-D782A7004C02}" type="pres">
      <dgm:prSet presAssocID="{F6A7E536-A9CE-4C76-BA53-CA694476825C}" presName="sibTrans" presStyleCnt="0"/>
      <dgm:spPr/>
    </dgm:pt>
    <dgm:pt modelId="{628D7D0F-86B0-44CD-98E2-FBB6A3D910A3}" type="pres">
      <dgm:prSet presAssocID="{12EDA70E-AB30-4D5B-9589-F0AA4D18FEB8}" presName="node" presStyleLbl="node1" presStyleIdx="1" presStyleCnt="4">
        <dgm:presLayoutVars>
          <dgm:bulletEnabled val="1"/>
        </dgm:presLayoutVars>
      </dgm:prSet>
      <dgm:spPr/>
    </dgm:pt>
    <dgm:pt modelId="{F2849A13-AD37-4E0A-A008-58C6D6A92F76}" type="pres">
      <dgm:prSet presAssocID="{EC3D2638-6D75-4D0B-87E9-1C27E26E8F91}" presName="sibTrans" presStyleCnt="0"/>
      <dgm:spPr/>
    </dgm:pt>
    <dgm:pt modelId="{485323DB-2B41-484E-9025-4735F9F8D0B4}" type="pres">
      <dgm:prSet presAssocID="{3832EF21-3B95-45ED-ACD0-1881E4010443}" presName="node" presStyleLbl="node1" presStyleIdx="2" presStyleCnt="4">
        <dgm:presLayoutVars>
          <dgm:bulletEnabled val="1"/>
        </dgm:presLayoutVars>
      </dgm:prSet>
      <dgm:spPr/>
    </dgm:pt>
    <dgm:pt modelId="{D6A9BB19-3E15-4B1B-AEB4-54F4A2F3D4BD}" type="pres">
      <dgm:prSet presAssocID="{38A2A5D0-BAB0-4FB0-8F57-8B980D52633C}" presName="sibTrans" presStyleCnt="0"/>
      <dgm:spPr/>
    </dgm:pt>
    <dgm:pt modelId="{320B0352-629E-4C40-BE3F-1721612F88BE}" type="pres">
      <dgm:prSet presAssocID="{43613E0B-DFF3-440A-AB05-CE9D7993EF6B}" presName="node" presStyleLbl="node1" presStyleIdx="3" presStyleCnt="4">
        <dgm:presLayoutVars>
          <dgm:bulletEnabled val="1"/>
        </dgm:presLayoutVars>
      </dgm:prSet>
      <dgm:spPr>
        <a:prstGeom prst="flowChartManualOperation">
          <a:avLst/>
        </a:prstGeom>
      </dgm:spPr>
    </dgm:pt>
  </dgm:ptLst>
  <dgm:cxnLst>
    <dgm:cxn modelId="{6317B006-FE49-4412-AB12-7CFEDF482BF3}" srcId="{43613E0B-DFF3-440A-AB05-CE9D7993EF6B}" destId="{7E3B5E7C-52C4-416C-80F1-C4CEB48ECCB9}" srcOrd="1" destOrd="0" parTransId="{BE8AA234-BEAE-432D-9040-EC41091F2B10}" sibTransId="{402D52DA-12F6-46F5-BBE5-5CF8D3226188}"/>
    <dgm:cxn modelId="{3D9D6808-F75B-4773-8306-D6DB377E6953}" srcId="{43613E0B-DFF3-440A-AB05-CE9D7993EF6B}" destId="{8A683C86-6AE6-496D-A08A-425BD412C075}" srcOrd="0" destOrd="0" parTransId="{A0263F97-CC27-44EE-B45F-FB3855D057F3}" sibTransId="{6FAE1F07-939D-49F0-A545-CAD9769A5F42}"/>
    <dgm:cxn modelId="{DC7E5E09-F0B5-4AD0-A63F-00900C3B2459}" srcId="{984F840A-A362-44C5-B9FE-A4C4688FABDD}" destId="{12EDA70E-AB30-4D5B-9589-F0AA4D18FEB8}" srcOrd="1" destOrd="0" parTransId="{42095A43-0FF9-47FC-BBDF-DCEC19847B6F}" sibTransId="{EC3D2638-6D75-4D0B-87E9-1C27E26E8F91}"/>
    <dgm:cxn modelId="{88AB981E-74D8-4837-9791-F0A187911CFF}" srcId="{984F840A-A362-44C5-B9FE-A4C4688FABDD}" destId="{E9007E28-0967-49BC-9D49-2F6BD0133E4B}" srcOrd="0" destOrd="0" parTransId="{C2244E3A-2CF4-40CD-82A6-948005743614}" sibTransId="{F6A7E536-A9CE-4C76-BA53-CA694476825C}"/>
    <dgm:cxn modelId="{155CF728-01A1-4FBC-AB3E-CEDC0017C065}" type="presOf" srcId="{43613E0B-DFF3-440A-AB05-CE9D7993EF6B}" destId="{320B0352-629E-4C40-BE3F-1721612F88BE}" srcOrd="0" destOrd="0" presId="urn:microsoft.com/office/officeart/2005/8/layout/hList6"/>
    <dgm:cxn modelId="{3ECE8E2A-C3ED-40D9-8222-98F45E4ABA2F}" type="presOf" srcId="{12EDA70E-AB30-4D5B-9589-F0AA4D18FEB8}" destId="{628D7D0F-86B0-44CD-98E2-FBB6A3D910A3}" srcOrd="0" destOrd="0" presId="urn:microsoft.com/office/officeart/2005/8/layout/hList6"/>
    <dgm:cxn modelId="{8ADAC230-8519-462C-A9A8-E01E9F98E6BB}" srcId="{984F840A-A362-44C5-B9FE-A4C4688FABDD}" destId="{3832EF21-3B95-45ED-ACD0-1881E4010443}" srcOrd="2" destOrd="0" parTransId="{03AF6D04-19E3-470D-A1FF-FB81B8D2CC13}" sibTransId="{38A2A5D0-BAB0-4FB0-8F57-8B980D52633C}"/>
    <dgm:cxn modelId="{DBD34736-79FF-4C1B-ABFC-4E561F6FD0AC}" type="presOf" srcId="{15B2DDBB-AEFD-418E-83CA-5071CCC1675E}" destId="{485323DB-2B41-484E-9025-4735F9F8D0B4}" srcOrd="0" destOrd="1" presId="urn:microsoft.com/office/officeart/2005/8/layout/hList6"/>
    <dgm:cxn modelId="{5617EA3B-3060-4C95-B31E-B28EC1DAAD2A}" type="presOf" srcId="{984F840A-A362-44C5-B9FE-A4C4688FABDD}" destId="{BFA543E6-2273-4CA8-B1CA-B8A4C1A15EC0}" srcOrd="0" destOrd="0" presId="urn:microsoft.com/office/officeart/2005/8/layout/hList6"/>
    <dgm:cxn modelId="{5D212D45-BEDE-4889-8836-007C93814E67}" srcId="{984F840A-A362-44C5-B9FE-A4C4688FABDD}" destId="{43613E0B-DFF3-440A-AB05-CE9D7993EF6B}" srcOrd="3" destOrd="0" parTransId="{FFAF7417-55BB-4587-8BA6-50FB70FC554B}" sibTransId="{8B1A69CB-1E0F-407F-8A10-4590FB31B1AD}"/>
    <dgm:cxn modelId="{28536150-CF1F-4948-BED5-7861CE39FF8F}" type="presOf" srcId="{7E3B5E7C-52C4-416C-80F1-C4CEB48ECCB9}" destId="{320B0352-629E-4C40-BE3F-1721612F88BE}" srcOrd="0" destOrd="2" presId="urn:microsoft.com/office/officeart/2005/8/layout/hList6"/>
    <dgm:cxn modelId="{2A683F55-16BD-4CB0-B148-A503A0818AC9}" srcId="{12EDA70E-AB30-4D5B-9589-F0AA4D18FEB8}" destId="{EF73001A-6BC1-444C-B463-24D1C48D7A73}" srcOrd="0" destOrd="0" parTransId="{00385985-B57F-4DD7-BE66-0057E7022C10}" sibTransId="{557AD904-00C0-44E6-AD79-F8A41DE01167}"/>
    <dgm:cxn modelId="{366CDF77-8AC6-4848-8AFA-28ABE508BE4F}" type="presOf" srcId="{E9007E28-0967-49BC-9D49-2F6BD0133E4B}" destId="{F5C2865C-092E-48A7-AF6E-B46C14A4C682}" srcOrd="0" destOrd="0" presId="urn:microsoft.com/office/officeart/2005/8/layout/hList6"/>
    <dgm:cxn modelId="{BF04AA7C-BD66-47FB-AA28-D18EA70350E3}" type="presOf" srcId="{F9F6E32B-1229-47AA-A84A-447650C00DC3}" destId="{F5C2865C-092E-48A7-AF6E-B46C14A4C682}" srcOrd="0" destOrd="1" presId="urn:microsoft.com/office/officeart/2005/8/layout/hList6"/>
    <dgm:cxn modelId="{5E9A1989-BF78-48E7-B547-2FFC21496958}" srcId="{E9007E28-0967-49BC-9D49-2F6BD0133E4B}" destId="{F9F6E32B-1229-47AA-A84A-447650C00DC3}" srcOrd="0" destOrd="0" parTransId="{675B30FB-DAE6-4155-BE34-C005FA76A130}" sibTransId="{FB37B72F-E7F2-4D56-92FF-A2A26CD95ED2}"/>
    <dgm:cxn modelId="{B3A76D98-958F-413C-84E4-02AE10EC15D7}" srcId="{3832EF21-3B95-45ED-ACD0-1881E4010443}" destId="{15B2DDBB-AEFD-418E-83CA-5071CCC1675E}" srcOrd="0" destOrd="0" parTransId="{70A2DC30-E93B-41E5-AE53-67D65A188049}" sibTransId="{5D34BA36-960A-46F8-8EA2-64D589E3C2FC}"/>
    <dgm:cxn modelId="{0A46AC98-E130-4B2B-A558-B760D6CC8F03}" type="presOf" srcId="{EF73001A-6BC1-444C-B463-24D1C48D7A73}" destId="{628D7D0F-86B0-44CD-98E2-FBB6A3D910A3}" srcOrd="0" destOrd="1" presId="urn:microsoft.com/office/officeart/2005/8/layout/hList6"/>
    <dgm:cxn modelId="{BCCFA9AA-EAEC-4625-9EB9-06BED2F64E52}" type="presOf" srcId="{3832EF21-3B95-45ED-ACD0-1881E4010443}" destId="{485323DB-2B41-484E-9025-4735F9F8D0B4}" srcOrd="0" destOrd="0" presId="urn:microsoft.com/office/officeart/2005/8/layout/hList6"/>
    <dgm:cxn modelId="{3002D8F4-98B3-4D4E-89FC-44275CDB0EF1}" type="presOf" srcId="{8A683C86-6AE6-496D-A08A-425BD412C075}" destId="{320B0352-629E-4C40-BE3F-1721612F88BE}" srcOrd="0" destOrd="1" presId="urn:microsoft.com/office/officeart/2005/8/layout/hList6"/>
    <dgm:cxn modelId="{08DD8B35-41D3-4CA1-BAE2-66D0559B4C5B}" type="presParOf" srcId="{BFA543E6-2273-4CA8-B1CA-B8A4C1A15EC0}" destId="{F5C2865C-092E-48A7-AF6E-B46C14A4C682}" srcOrd="0" destOrd="0" presId="urn:microsoft.com/office/officeart/2005/8/layout/hList6"/>
    <dgm:cxn modelId="{E0F5D64D-D99B-4CEE-A7FB-133796297304}" type="presParOf" srcId="{BFA543E6-2273-4CA8-B1CA-B8A4C1A15EC0}" destId="{924BB8C1-D649-44DC-ADB8-D782A7004C02}" srcOrd="1" destOrd="0" presId="urn:microsoft.com/office/officeart/2005/8/layout/hList6"/>
    <dgm:cxn modelId="{0A27D457-D547-48BF-A44A-97F09B0CFF19}" type="presParOf" srcId="{BFA543E6-2273-4CA8-B1CA-B8A4C1A15EC0}" destId="{628D7D0F-86B0-44CD-98E2-FBB6A3D910A3}" srcOrd="2" destOrd="0" presId="urn:microsoft.com/office/officeart/2005/8/layout/hList6"/>
    <dgm:cxn modelId="{69E8AD85-6FD3-4FE0-B19A-9BE2CBB92D81}" type="presParOf" srcId="{BFA543E6-2273-4CA8-B1CA-B8A4C1A15EC0}" destId="{F2849A13-AD37-4E0A-A008-58C6D6A92F76}" srcOrd="3" destOrd="0" presId="urn:microsoft.com/office/officeart/2005/8/layout/hList6"/>
    <dgm:cxn modelId="{16DDE0A3-1C85-4EA8-8FC5-EDAA80A2D205}" type="presParOf" srcId="{BFA543E6-2273-4CA8-B1CA-B8A4C1A15EC0}" destId="{485323DB-2B41-484E-9025-4735F9F8D0B4}" srcOrd="4" destOrd="0" presId="urn:microsoft.com/office/officeart/2005/8/layout/hList6"/>
    <dgm:cxn modelId="{75C4594B-7BA1-42DD-8669-3B1848DF09B9}" type="presParOf" srcId="{BFA543E6-2273-4CA8-B1CA-B8A4C1A15EC0}" destId="{D6A9BB19-3E15-4B1B-AEB4-54F4A2F3D4BD}" srcOrd="5" destOrd="0" presId="urn:microsoft.com/office/officeart/2005/8/layout/hList6"/>
    <dgm:cxn modelId="{D85474C2-6304-4979-9A4F-1BF852F7E287}" type="presParOf" srcId="{BFA543E6-2273-4CA8-B1CA-B8A4C1A15EC0}" destId="{320B0352-629E-4C40-BE3F-1721612F88BE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C2865C-092E-48A7-AF6E-B46C14A4C682}">
      <dsp:nvSpPr>
        <dsp:cNvPr id="0" name=""/>
        <dsp:cNvSpPr/>
      </dsp:nvSpPr>
      <dsp:spPr>
        <a:xfrm rot="16200000">
          <a:off x="-1950624" y="1953269"/>
          <a:ext cx="6502400" cy="2595860"/>
        </a:xfrm>
        <a:prstGeom prst="flowChartManualOperation">
          <a:avLst/>
        </a:prstGeom>
        <a:solidFill>
          <a:srgbClr val="73B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0" rIns="171122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Federal Perkins Loan Program</a:t>
          </a:r>
          <a:endParaRPr lang="en-US" sz="2700" b="1" kern="1200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latin typeface="Segoe UI" panose="020B0502040204020203" pitchFamily="34" charset="0"/>
              <a:cs typeface="Segoe UI" panose="020B0502040204020203" pitchFamily="34" charset="0"/>
            </a:rPr>
            <a:t>Loans made by schools</a:t>
          </a:r>
          <a:endParaRPr lang="en-US" sz="2100" kern="1200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sp:txBody>
      <dsp:txXfrm rot="5400000">
        <a:off x="2646" y="1300479"/>
        <a:ext cx="2595860" cy="3901440"/>
      </dsp:txXfrm>
    </dsp:sp>
    <dsp:sp modelId="{628D7D0F-86B0-44CD-98E2-FBB6A3D910A3}">
      <dsp:nvSpPr>
        <dsp:cNvPr id="0" name=""/>
        <dsp:cNvSpPr/>
      </dsp:nvSpPr>
      <dsp:spPr>
        <a:xfrm rot="16200000">
          <a:off x="839925" y="1953269"/>
          <a:ext cx="6502400" cy="2595860"/>
        </a:xfrm>
        <a:prstGeom prst="flowChartManualOperation">
          <a:avLst/>
        </a:prstGeom>
        <a:solidFill>
          <a:srgbClr val="00D9A7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0" rIns="171122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Federal Family Education Loan (FFEL)</a:t>
          </a:r>
          <a:r>
            <a:rPr lang="en-US" sz="2700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 Program</a:t>
          </a:r>
          <a:endParaRPr lang="en-US" sz="2700" kern="1200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latin typeface="Segoe UI" panose="020B0502040204020203" pitchFamily="34" charset="0"/>
              <a:cs typeface="Segoe UI" panose="020B0502040204020203" pitchFamily="34" charset="0"/>
            </a:rPr>
            <a:t>Loans made by banks, guaranteed by Education Department</a:t>
          </a:r>
          <a:endParaRPr lang="en-US" sz="2100" kern="1200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</dsp:txBody>
      <dsp:txXfrm rot="5400000">
        <a:off x="2793195" y="1300479"/>
        <a:ext cx="2595860" cy="3901440"/>
      </dsp:txXfrm>
    </dsp:sp>
    <dsp:sp modelId="{485323DB-2B41-484E-9025-4735F9F8D0B4}">
      <dsp:nvSpPr>
        <dsp:cNvPr id="0" name=""/>
        <dsp:cNvSpPr/>
      </dsp:nvSpPr>
      <dsp:spPr>
        <a:xfrm rot="16200000">
          <a:off x="3630474" y="1953269"/>
          <a:ext cx="6502400" cy="2595860"/>
        </a:xfrm>
        <a:prstGeom prst="flowChartManualOperation">
          <a:avLst/>
        </a:prstGeom>
        <a:solidFill>
          <a:srgbClr val="005F66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0" rIns="171122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Direct Loan (DL) Program</a:t>
          </a:r>
          <a:endParaRPr lang="en-US" sz="2700" b="1" kern="1200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solidFill>
                <a:srgbClr val="FFFFFF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rPr>
            <a:t>Loans made by Education department</a:t>
          </a:r>
        </a:p>
      </dsp:txBody>
      <dsp:txXfrm rot="5400000">
        <a:off x="5583744" y="1300479"/>
        <a:ext cx="2595860" cy="3901440"/>
      </dsp:txXfrm>
    </dsp:sp>
    <dsp:sp modelId="{320B0352-629E-4C40-BE3F-1721612F88BE}">
      <dsp:nvSpPr>
        <dsp:cNvPr id="0" name=""/>
        <dsp:cNvSpPr/>
      </dsp:nvSpPr>
      <dsp:spPr>
        <a:xfrm rot="16200000">
          <a:off x="6421024" y="1953269"/>
          <a:ext cx="6502400" cy="2595860"/>
        </a:xfrm>
        <a:prstGeom prst="flowChartManualOperation">
          <a:avLst/>
        </a:prstGeom>
        <a:solidFill>
          <a:srgbClr val="75787B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1450" tIns="0" rIns="171122" bIns="0" numCol="1" spcCol="1270" anchor="t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1" kern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rPr>
            <a:t>Parent Plus Loans</a:t>
          </a:r>
          <a:endParaRPr lang="en-US" sz="2700" b="1" kern="1200" dirty="0">
            <a:solidFill>
              <a:srgbClr val="FFFFFF"/>
            </a:solidFill>
            <a:latin typeface="Segoe UI" panose="020B0502040204020203" pitchFamily="34" charset="0"/>
            <a:ea typeface="+mn-ea"/>
            <a:cs typeface="Segoe UI" panose="020B0502040204020203" pitchFamily="34" charset="0"/>
          </a:endParaRP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solidFill>
                <a:srgbClr val="FFFFFF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rPr>
            <a:t>Federal loans made by parents to pay for children’s school</a:t>
          </a:r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100" kern="1200" dirty="0">
              <a:solidFill>
                <a:srgbClr val="FFFFFF"/>
              </a:solidFill>
              <a:latin typeface="Segoe UI" panose="020B0502040204020203" pitchFamily="34" charset="0"/>
              <a:ea typeface="+mn-ea"/>
              <a:cs typeface="Segoe UI" panose="020B0502040204020203" pitchFamily="34" charset="0"/>
            </a:rPr>
            <a:t>Parent is the “borrower” and liable for repayment</a:t>
          </a:r>
        </a:p>
      </dsp:txBody>
      <dsp:txXfrm rot="5400000">
        <a:off x="8374294" y="1300479"/>
        <a:ext cx="2595860" cy="39014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8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7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8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9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0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2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F4D4B11-9A1E-6F46-87DC-B3B96434A9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 dirty="0">
              <a:latin typeface="IBM Eliot Sans Medium" panose="020B0703050000000000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F44B9EB-F1C2-2D45-A435-2B73260BC69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438458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F48FD432-6905-7340-B123-FD524AE3F5E4}" type="datetimeFigureOut">
              <a:rPr lang="en-US" smtClean="0">
                <a:latin typeface="IBM Eliot Sans Medium" panose="020B0703050000000000" pitchFamily="34" charset="0"/>
              </a:rPr>
              <a:t>12/1/2020</a:t>
            </a:fld>
            <a:endParaRPr lang="en-US" dirty="0">
              <a:latin typeface="IBM Eliot Sans Medium" panose="020B0703050000000000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EA0973-A3D3-D946-89C3-ED4FED502D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 dirty="0">
              <a:latin typeface="IBM Eliot Sans Medium" panose="020B0703050000000000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BA04AB-2FC0-D141-986D-FE3317B07C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438458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884A4EF8-EAF9-6947-87A8-8614CAC88561}" type="slidenum">
              <a:rPr lang="en-US" smtClean="0">
                <a:latin typeface="IBM Eliot Sans Medium" panose="020B0703050000000000" pitchFamily="34" charset="0"/>
              </a:rPr>
              <a:t>‹#›</a:t>
            </a:fld>
            <a:endParaRPr lang="en-US" dirty="0">
              <a:latin typeface="IBM Eliot Sans Medium" panose="020B070305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51486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438458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 b="0" i="0">
                <a:latin typeface="IBM Eliot Sans Medium" panose="020B0703050000000000" pitchFamily="34" charset="0"/>
              </a:defRPr>
            </a:lvl1pPr>
          </a:lstStyle>
          <a:p>
            <a:fld id="{E8A8F20E-7B0B-E74C-8E51-C6759924A7D4}" type="datetimeFigureOut">
              <a:rPr lang="en-US" smtClean="0"/>
              <a:pPr/>
              <a:t>12/1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914400"/>
            <a:ext cx="3289300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60120" y="3520439"/>
            <a:ext cx="7680960" cy="2880361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438458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 b="0" i="0">
                <a:latin typeface="IBM Eliot Sans Medium" panose="020B0703050000000000" pitchFamily="34" charset="0"/>
              </a:defRPr>
            </a:lvl1pPr>
          </a:lstStyle>
          <a:p>
            <a:fld id="{67E37107-5B3B-C144-9AF1-F4F03A8099C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638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97280" rtl="0" eaLnBrk="1" latinLnBrk="0" hangingPunct="1">
      <a:defRPr sz="1440" b="0" i="0" kern="1200">
        <a:solidFill>
          <a:schemeClr val="tx1"/>
        </a:solidFill>
        <a:latin typeface="IBM Eliot Sans Medium" panose="020B0703050000000000" pitchFamily="34" charset="0"/>
        <a:ea typeface="+mn-ea"/>
        <a:cs typeface="+mn-cs"/>
      </a:defRPr>
    </a:lvl1pPr>
    <a:lvl2pPr marL="548640" algn="l" defTabSz="1097280" rtl="0" eaLnBrk="1" latinLnBrk="0" hangingPunct="1">
      <a:defRPr sz="1440" b="0" i="0" kern="1200">
        <a:solidFill>
          <a:schemeClr val="tx1"/>
        </a:solidFill>
        <a:latin typeface="IBM Eliot Sans Medium" panose="020B0703050000000000" pitchFamily="34" charset="0"/>
        <a:ea typeface="+mn-ea"/>
        <a:cs typeface="+mn-cs"/>
      </a:defRPr>
    </a:lvl2pPr>
    <a:lvl3pPr marL="1097280" algn="l" defTabSz="1097280" rtl="0" eaLnBrk="1" latinLnBrk="0" hangingPunct="1">
      <a:defRPr sz="1440" b="0" i="0" kern="1200">
        <a:solidFill>
          <a:schemeClr val="tx1"/>
        </a:solidFill>
        <a:latin typeface="IBM Eliot Sans Medium" panose="020B0703050000000000" pitchFamily="34" charset="0"/>
        <a:ea typeface="+mn-ea"/>
        <a:cs typeface="+mn-cs"/>
      </a:defRPr>
    </a:lvl3pPr>
    <a:lvl4pPr marL="1645920" algn="l" defTabSz="1097280" rtl="0" eaLnBrk="1" latinLnBrk="0" hangingPunct="1">
      <a:defRPr sz="1440" b="0" i="0" kern="1200">
        <a:solidFill>
          <a:schemeClr val="tx1"/>
        </a:solidFill>
        <a:latin typeface="IBM Eliot Sans Medium" panose="020B0703050000000000" pitchFamily="34" charset="0"/>
        <a:ea typeface="+mn-ea"/>
        <a:cs typeface="+mn-cs"/>
      </a:defRPr>
    </a:lvl4pPr>
    <a:lvl5pPr marL="2194560" algn="l" defTabSz="1097280" rtl="0" eaLnBrk="1" latinLnBrk="0" hangingPunct="1">
      <a:defRPr sz="1440" b="0" i="0" kern="1200">
        <a:solidFill>
          <a:schemeClr val="tx1"/>
        </a:solidFill>
        <a:latin typeface="IBM Eliot Sans Medium" panose="020B0703050000000000" pitchFamily="34" charset="0"/>
        <a:ea typeface="+mn-ea"/>
        <a:cs typeface="+mn-cs"/>
      </a:defRPr>
    </a:lvl5pPr>
    <a:lvl6pPr marL="274320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6pPr>
    <a:lvl7pPr marL="329184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7pPr>
    <a:lvl8pPr marL="384048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8pPr>
    <a:lvl9pPr marL="4389120" algn="l" defTabSz="1097280" rtl="0" eaLnBrk="1" latinLnBrk="0" hangingPunct="1">
      <a:defRPr sz="14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</a:rPr>
              <a:t>Today we are going to cover 4 things – The retirement crisis, our participant experience, plan sponsor experience, and finally share some retirement market insight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37107-5B3B-C144-9AF1-F4F03A8099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25986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20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37107-5B3B-C144-9AF1-F4F03A8099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320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1097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20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37107-5B3B-C144-9AF1-F4F03A8099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320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8109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20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37107-5B3B-C144-9AF1-F4F03A8099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320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8111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28950" y="857250"/>
            <a:ext cx="3086100" cy="2314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3200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E37107-5B3B-C144-9AF1-F4F03A8099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</a:rPr>
              <a:pPr marL="0" marR="0" lvl="0" indent="0" algn="r" defTabSz="3200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51621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4.pn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2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image" Target="../media/image20.pn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4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5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6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7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8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9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0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1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2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3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4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5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26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5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28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5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9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38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1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2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33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2.emf"/><Relationship Id="rId4" Type="http://schemas.openxmlformats.org/officeDocument/2006/relationships/oleObject" Target="../embeddings/oleObject34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5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4.emf"/><Relationship Id="rId4" Type="http://schemas.openxmlformats.org/officeDocument/2006/relationships/oleObject" Target="../embeddings/oleObject36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37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6.emf"/><Relationship Id="rId4" Type="http://schemas.openxmlformats.org/officeDocument/2006/relationships/oleObject" Target="../embeddings/oleObject38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39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8.emf"/><Relationship Id="rId4" Type="http://schemas.openxmlformats.org/officeDocument/2006/relationships/oleObject" Target="../embeddings/oleObject40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41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42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51.emf"/><Relationship Id="rId4" Type="http://schemas.openxmlformats.org/officeDocument/2006/relationships/oleObject" Target="../embeddings/oleObject43.bin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52.emf"/><Relationship Id="rId4" Type="http://schemas.openxmlformats.org/officeDocument/2006/relationships/oleObject" Target="../embeddings/oleObject44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3.emf"/><Relationship Id="rId5" Type="http://schemas.openxmlformats.org/officeDocument/2006/relationships/image" Target="../media/image53.emf"/><Relationship Id="rId4" Type="http://schemas.openxmlformats.org/officeDocument/2006/relationships/oleObject" Target="../embeddings/oleObject45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46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54.emf"/><Relationship Id="rId4" Type="http://schemas.openxmlformats.org/officeDocument/2006/relationships/oleObject" Target="../embeddings/oleObject47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48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56.emf"/><Relationship Id="rId4" Type="http://schemas.openxmlformats.org/officeDocument/2006/relationships/oleObject" Target="../embeddings/oleObject49.bin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56.emf"/><Relationship Id="rId4" Type="http://schemas.openxmlformats.org/officeDocument/2006/relationships/oleObject" Target="../embeddings/oleObject50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51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58.emf"/><Relationship Id="rId4" Type="http://schemas.openxmlformats.org/officeDocument/2006/relationships/oleObject" Target="../embeddings/oleObject52.bin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59.emf"/><Relationship Id="rId4" Type="http://schemas.openxmlformats.org/officeDocument/2006/relationships/oleObject" Target="../embeddings/oleObject53.bin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60.emf"/><Relationship Id="rId4" Type="http://schemas.openxmlformats.org/officeDocument/2006/relationships/oleObject" Target="../embeddings/oleObject54.bin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61.emf"/><Relationship Id="rId4" Type="http://schemas.openxmlformats.org/officeDocument/2006/relationships/oleObject" Target="../embeddings/oleObject55.bin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62.emf"/><Relationship Id="rId4" Type="http://schemas.openxmlformats.org/officeDocument/2006/relationships/oleObject" Target="../embeddings/oleObject56.bin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57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64.emf"/><Relationship Id="rId4" Type="http://schemas.openxmlformats.org/officeDocument/2006/relationships/oleObject" Target="../embeddings/oleObject58.bin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65.emf"/><Relationship Id="rId4" Type="http://schemas.openxmlformats.org/officeDocument/2006/relationships/oleObject" Target="../embeddings/oleObject59.bin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66.emf"/><Relationship Id="rId4" Type="http://schemas.openxmlformats.org/officeDocument/2006/relationships/oleObject" Target="../embeddings/oleObject60.bin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7.emf"/><Relationship Id="rId4" Type="http://schemas.openxmlformats.org/officeDocument/2006/relationships/oleObject" Target="../embeddings/oleObject61.bin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8.emf"/><Relationship Id="rId4" Type="http://schemas.openxmlformats.org/officeDocument/2006/relationships/oleObject" Target="../embeddings/oleObject62.bin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69.emf"/><Relationship Id="rId4" Type="http://schemas.openxmlformats.org/officeDocument/2006/relationships/oleObject" Target="../embeddings/oleObject63.bin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70.emf"/><Relationship Id="rId4" Type="http://schemas.openxmlformats.org/officeDocument/2006/relationships/oleObject" Target="../embeddings/oleObject64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71.emf"/><Relationship Id="rId4" Type="http://schemas.openxmlformats.org/officeDocument/2006/relationships/oleObject" Target="../embeddings/oleObject65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72.emf"/><Relationship Id="rId4" Type="http://schemas.openxmlformats.org/officeDocument/2006/relationships/oleObject" Target="../embeddings/oleObject66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73.emf"/><Relationship Id="rId4" Type="http://schemas.openxmlformats.org/officeDocument/2006/relationships/oleObject" Target="../embeddings/oleObject67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68.bin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76.emf"/><Relationship Id="rId4" Type="http://schemas.openxmlformats.org/officeDocument/2006/relationships/oleObject" Target="../embeddings/oleObject69.bin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5.png"/><Relationship Id="rId5" Type="http://schemas.openxmlformats.org/officeDocument/2006/relationships/image" Target="../media/image77.emf"/><Relationship Id="rId4" Type="http://schemas.openxmlformats.org/officeDocument/2006/relationships/oleObject" Target="../embeddings/oleObject70.bin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72.bin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5.png"/><Relationship Id="rId2" Type="http://schemas.openxmlformats.org/officeDocument/2006/relationships/tags" Target="../tags/tag77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4.png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73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74.bin"/><Relationship Id="rId4" Type="http://schemas.openxmlformats.org/officeDocument/2006/relationships/image" Target="../media/image78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29.emf"/><Relationship Id="rId4" Type="http://schemas.openxmlformats.org/officeDocument/2006/relationships/oleObject" Target="../embeddings/oleObject75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E105F7-1BB2-F34D-985C-F926963095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7178BE-4645-7249-A632-CD9EF34D5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2AD0116-3696-BD4B-A8E6-28DC783419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1" y="2975959"/>
            <a:ext cx="10226993" cy="2277683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6000" b="1" i="0" dirty="0">
                <a:solidFill>
                  <a:srgbClr val="002577"/>
                </a:solidFill>
                <a:latin typeface="IBM Plex Sans" panose="020B050305020300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4037244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878966A-1635-A948-B6CB-D922DE71130A}"/>
              </a:ext>
            </a:extLst>
          </p:cNvPr>
          <p:cNvSpPr/>
          <p:nvPr userDrawn="1"/>
        </p:nvSpPr>
        <p:spPr>
          <a:xfrm>
            <a:off x="0" y="2286000"/>
            <a:ext cx="10972800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1" y="4800600"/>
            <a:ext cx="10976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7F96F0-9F1C-DD40-8D68-283BAD32A2E5}"/>
              </a:ext>
            </a:extLst>
          </p:cNvPr>
          <p:cNvCxnSpPr>
            <a:cxnSpLocks/>
          </p:cNvCxnSpPr>
          <p:nvPr userDrawn="1"/>
        </p:nvCxnSpPr>
        <p:spPr>
          <a:xfrm>
            <a:off x="2738168" y="2187554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EBE62145-C6F1-DD41-953C-FEDE5899126A}"/>
              </a:ext>
            </a:extLst>
          </p:cNvPr>
          <p:cNvSpPr txBox="1">
            <a:spLocks/>
          </p:cNvSpPr>
          <p:nvPr userDrawn="1"/>
        </p:nvSpPr>
        <p:spPr>
          <a:xfrm>
            <a:off x="412395" y="4716383"/>
            <a:ext cx="498226" cy="932574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500" b="1" kern="1200">
                <a:solidFill>
                  <a:srgbClr val="002677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851" b="0" i="0" dirty="0">
              <a:solidFill>
                <a:srgbClr val="73BFFF"/>
              </a:solidFill>
              <a:latin typeface="IBM Eliot Sans Medium" panose="020B0703050000000000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5485095" y="2170166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225538" y="2128180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31AA5DA-4C98-CD4C-BD82-BFADF2AA8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81606218-C785-CE4E-9E24-2F2029B69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F7A6862-765C-774A-B229-13D1652D14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7"/>
            <a:ext cx="4355502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5757D10-F62F-4740-B9A7-A48353969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F03B161-7BA1-2F4B-AE38-205D5A420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A03C70C-3C27-4640-9452-11619D59B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CE675BB-4ECC-A44C-8B18-9AAA1966A3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DDDD741-B28C-C44C-B72E-4BB6314DCC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0DAB2C6-4974-DE4D-BEB1-6C2F305BFD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9125A92-6D79-104E-99F9-9A81371C1D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0D5A265-D3C0-4143-B509-8F19D16791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D71A2BD7-A04D-D74D-8969-D3A70A8815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346B2C6-55F3-F743-A910-5D70D9F4CB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8751F895-446E-B74F-836C-BD9C179DC6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DE878C6-0442-DC4D-9096-E8825B38CC0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10E830AD-B157-6E41-B1CC-07B3AE7824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C401C74-0372-DF4B-8B59-42DDBED2BE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9FC9668-2DD8-A94F-A954-E37D86C3A6B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0DD6D32-1F14-104B-A68A-F649E5E2399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1003323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0234ADA-DD1C-A74C-916C-C972FB304774}"/>
              </a:ext>
            </a:extLst>
          </p:cNvPr>
          <p:cNvSpPr/>
          <p:nvPr userDrawn="1"/>
        </p:nvSpPr>
        <p:spPr>
          <a:xfrm>
            <a:off x="342900" y="3009900"/>
            <a:ext cx="2551176" cy="4306824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n>
                <a:noFill/>
              </a:ln>
              <a:solidFill>
                <a:srgbClr val="E9E9E9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94BCB9-3949-2E45-85C9-5CEE1536AB52}"/>
              </a:ext>
            </a:extLst>
          </p:cNvPr>
          <p:cNvSpPr/>
          <p:nvPr userDrawn="1"/>
        </p:nvSpPr>
        <p:spPr>
          <a:xfrm>
            <a:off x="5500942" y="3009900"/>
            <a:ext cx="2551176" cy="4306824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271C14-ED70-8C4F-9A9D-0038D0B4F6A8}"/>
              </a:ext>
            </a:extLst>
          </p:cNvPr>
          <p:cNvSpPr/>
          <p:nvPr userDrawn="1"/>
        </p:nvSpPr>
        <p:spPr>
          <a:xfrm>
            <a:off x="8079819" y="3009900"/>
            <a:ext cx="2551176" cy="43053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rgbClr val="FFFFFF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CCE8E2-20BB-4D4B-B82D-272D8D226EE3}"/>
              </a:ext>
            </a:extLst>
          </p:cNvPr>
          <p:cNvSpPr/>
          <p:nvPr userDrawn="1"/>
        </p:nvSpPr>
        <p:spPr>
          <a:xfrm>
            <a:off x="2921695" y="3009900"/>
            <a:ext cx="2551176" cy="4306824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0E047483-1460-4B4C-8403-B3511EF40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9AEE7414-462C-2C4F-83B8-B844CD89EF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C1D65FD-AF2E-7E44-B68C-399AD07E11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AFC83656-3F6C-5D4A-9B1F-3024A248D12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7837" y="4977569"/>
            <a:ext cx="1991044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2" name="Text Placeholder 35">
            <a:extLst>
              <a:ext uri="{FF2B5EF4-FFF2-40B4-BE49-F238E27FC236}">
                <a16:creationId xmlns:a16="http://schemas.microsoft.com/office/drawing/2014/main" id="{56AAEC07-AECA-1B4F-988F-3330DB8CD83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044285" y="4977569"/>
            <a:ext cx="199634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3" name="Text Placeholder 35">
            <a:extLst>
              <a:ext uri="{FF2B5EF4-FFF2-40B4-BE49-F238E27FC236}">
                <a16:creationId xmlns:a16="http://schemas.microsoft.com/office/drawing/2014/main" id="{CD1370D0-73FB-2D43-9EA9-430A6DCA274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10731" y="4977569"/>
            <a:ext cx="199115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5D2AFB2B-6A55-6349-B629-7E84E2966DA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91319" y="4977569"/>
            <a:ext cx="199115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01E793F-9A64-2B47-BB2B-5A0A5CB1C25A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4953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771CF32-CFAC-434D-80F4-B55690CC685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0480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F3A270C-236F-DB43-AA87-A292403753A6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6007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70253B5C-2F2A-834A-85D4-7D739538370E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1915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1F32C06-61AB-6148-9F44-76926C76C9E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048762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16BACAA-4DAC-9E41-B886-9B588424A7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620512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229B95EF-59F9-2A4B-896D-853AAFE1CB8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199120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D96E48C-7839-7245-B664-B139CBE2F99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90913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9052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8" userDrawn="1">
          <p15:clr>
            <a:srgbClr val="FBAE40"/>
          </p15:clr>
        </p15:guide>
        <p15:guide id="4" pos="6462" userDrawn="1">
          <p15:clr>
            <a:srgbClr val="FBAE40"/>
          </p15:clr>
        </p15:guide>
        <p15:guide id="8" orient="horz" pos="2280" userDrawn="1">
          <p15:clr>
            <a:srgbClr val="FBAE40"/>
          </p15:clr>
        </p15:guide>
        <p15:guide id="9" orient="horz" pos="3168" userDrawn="1">
          <p15:clr>
            <a:srgbClr val="FBAE40"/>
          </p15:clr>
        </p15:guide>
        <p15:guide id="10" orient="horz" pos="4368" userDrawn="1">
          <p15:clr>
            <a:srgbClr val="FBAE40"/>
          </p15:clr>
        </p15:guide>
        <p15:guide id="11" pos="342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7">
            <a:extLst>
              <a:ext uri="{FF2B5EF4-FFF2-40B4-BE49-F238E27FC236}">
                <a16:creationId xmlns:a16="http://schemas.microsoft.com/office/drawing/2014/main" id="{8DCEA276-9209-A441-A46A-C9C61A22AB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322" y="2569464"/>
            <a:ext cx="5143501" cy="4745736"/>
          </a:xfrm>
          <a:prstGeom prst="rect">
            <a:avLst/>
          </a:prstGeom>
        </p:spPr>
        <p:txBody>
          <a:bodyPr>
            <a:normAutofit/>
          </a:bodyPr>
          <a:lstStyle>
            <a:lvl1pPr marL="160004" indent="-160004">
              <a:lnSpc>
                <a:spcPct val="90000"/>
              </a:lnSpc>
              <a:buFont typeface="Arial" panose="020B0604020202020204" pitchFamily="34" charset="0"/>
              <a:buChar char="•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154292" marR="0" indent="0" algn="l" defTabSz="822878" rtl="0" eaLnBrk="1" fontAlgn="auto" latinLnBrk="0" hangingPunct="1">
              <a:lnSpc>
                <a:spcPct val="9000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  <a:p>
            <a:pPr marL="310010" marR="0" lvl="1" indent="-155719" algn="l" defTabSz="822878" rtl="0" eaLnBrk="1" fontAlgn="auto" latinLnBrk="0" hangingPunct="1">
              <a:lnSpc>
                <a:spcPts val="225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DB8790C-9C94-8345-B804-9E75D9B4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D5D61A-2FD6-4D4C-B1CF-F215103CD5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38C6021-8DB3-1642-94F8-111AD16A6A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132761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28" userDrawn="1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0136C6-F7AB-8B49-928A-338D3A76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C2B5399-B34C-E849-947E-DA2E8E94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40F72-08C8-A04F-B3F3-EAD6099F17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895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8DEA317-5C53-964A-8725-0A575FF6F0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C482676B-8FFD-D249-840A-A4B768AAB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4219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484AE173-66FD-0C4F-9F7F-ED0CFFD441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73401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406438DA-82F4-2041-B4C1-FDA04BB04D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6299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EE9E89-CAEA-6749-A5BF-C6CDC24EB7F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1115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52CEB8D-161D-1847-B77C-09583DCD8B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876034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36C8D09-4B68-7E43-92BC-03886CC61F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70953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C5E1225-9BE0-4247-986F-F2F38964C5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090586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59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  <p15:guide id="2" orient="horz" pos="2712" userDrawn="1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EA316B1-8B83-4447-9E9B-FC8990B58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DBF914A0-0724-6D44-A730-43399C25E4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AF55CED-C52E-DE4B-A864-765ED6CEC0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47">
            <a:extLst>
              <a:ext uri="{FF2B5EF4-FFF2-40B4-BE49-F238E27FC236}">
                <a16:creationId xmlns:a16="http://schemas.microsoft.com/office/drawing/2014/main" id="{FABE53FC-70A9-7B46-A693-EA6C242AAC2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906525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17" name="Text Placeholder 47">
            <a:extLst>
              <a:ext uri="{FF2B5EF4-FFF2-40B4-BE49-F238E27FC236}">
                <a16:creationId xmlns:a16="http://schemas.microsoft.com/office/drawing/2014/main" id="{AAFA1AFF-9BF5-3047-83C1-29B70132C41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719" y="3670306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18" name="Text Placeholder 47">
            <a:extLst>
              <a:ext uri="{FF2B5EF4-FFF2-40B4-BE49-F238E27FC236}">
                <a16:creationId xmlns:a16="http://schemas.microsoft.com/office/drawing/2014/main" id="{DF0375E5-9244-D04E-9C70-10554E1834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75736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22" name="Text Placeholder 47">
            <a:extLst>
              <a:ext uri="{FF2B5EF4-FFF2-40B4-BE49-F238E27FC236}">
                <a16:creationId xmlns:a16="http://schemas.microsoft.com/office/drawing/2014/main" id="{3C2D9C96-67D2-B447-8672-01E0E5DF3D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092777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553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52" userDrawn="1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74CDF4B0-2E35-9843-BE83-6C144954D58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2900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4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40259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5">
            <a:extLst>
              <a:ext uri="{FF2B5EF4-FFF2-40B4-BE49-F238E27FC236}">
                <a16:creationId xmlns:a16="http://schemas.microsoft.com/office/drawing/2014/main" id="{85178677-6C05-8641-847C-C03510C54C7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31654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354CDB8F-F229-6B47-90D2-BFF11BD7EE9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19277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10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3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6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30816B2-6BE8-ED44-B9A3-EF9BCEAFB2E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9536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BE6BC68-0A82-3E44-8B2F-E96D5B9779F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449115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EDB1CC1-73C6-5645-A7D7-7B578CB809C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044739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4F387A61-12D4-B848-ACDA-41D6C7CB76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66552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6316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16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7" orient="horz" pos="3288" userDrawn="1">
          <p15:clr>
            <a:srgbClr val="FBAE40"/>
          </p15:clr>
        </p15:guide>
        <p15:guide id="8" orient="horz" pos="3480" userDrawn="1">
          <p15:clr>
            <a:srgbClr val="FBAE40"/>
          </p15:clr>
        </p15:guide>
        <p15:guide id="10" pos="6840" userDrawn="1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4" y="427240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940259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10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3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6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41C27F56-6EFC-A441-9C2D-10CE4433874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5234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0AEAB501-3096-AF4F-B436-6E6240708D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75310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FD8B8259-35A0-564E-B170-F909CA04F15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51533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27C9FBE6-5465-1847-9A14-285A9B68F0A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045646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78AC1F9C-0EA2-6940-87FC-B71E90AE410D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518520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37" name="Picture Placeholder 15">
            <a:extLst>
              <a:ext uri="{FF2B5EF4-FFF2-40B4-BE49-F238E27FC236}">
                <a16:creationId xmlns:a16="http://schemas.microsoft.com/office/drawing/2014/main" id="{3D133F5B-4C0C-004F-9093-B7D3D6DED8A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122824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0" name="Picture Placeholder 15">
            <a:extLst>
              <a:ext uri="{FF2B5EF4-FFF2-40B4-BE49-F238E27FC236}">
                <a16:creationId xmlns:a16="http://schemas.microsoft.com/office/drawing/2014/main" id="{AC540D40-8013-854D-B2C3-76FDC36525D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940259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9E94E62A-05C7-E243-93CC-EDC4EAB951A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518520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2" name="Picture Placeholder 15">
            <a:extLst>
              <a:ext uri="{FF2B5EF4-FFF2-40B4-BE49-F238E27FC236}">
                <a16:creationId xmlns:a16="http://schemas.microsoft.com/office/drawing/2014/main" id="{B75EE488-C0ED-E44E-987B-7A0179559C7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122824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3" name="Picture Placeholder 15">
            <a:extLst>
              <a:ext uri="{FF2B5EF4-FFF2-40B4-BE49-F238E27FC236}">
                <a16:creationId xmlns:a16="http://schemas.microsoft.com/office/drawing/2014/main" id="{906C6984-65CE-7B45-B326-F57045AFC461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44636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B1C4EE-1A0F-9646-A3FE-5C6D576B0B32}"/>
              </a:ext>
            </a:extLst>
          </p:cNvPr>
          <p:cNvSpPr txBox="1"/>
          <p:nvPr userDrawn="1"/>
        </p:nvSpPr>
        <p:spPr>
          <a:xfrm>
            <a:off x="2948940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96F487-8696-E746-BE29-3D797D4E3500}"/>
              </a:ext>
            </a:extLst>
          </p:cNvPr>
          <p:cNvSpPr txBox="1"/>
          <p:nvPr userDrawn="1"/>
        </p:nvSpPr>
        <p:spPr>
          <a:xfrm>
            <a:off x="5509839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174078-4FA5-FC4D-9638-0EE6DD706364}"/>
              </a:ext>
            </a:extLst>
          </p:cNvPr>
          <p:cNvSpPr txBox="1"/>
          <p:nvPr userDrawn="1"/>
        </p:nvSpPr>
        <p:spPr>
          <a:xfrm>
            <a:off x="8114143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804565-7374-C745-9825-D7F3EDD5EBE2}"/>
              </a:ext>
            </a:extLst>
          </p:cNvPr>
          <p:cNvSpPr txBox="1"/>
          <p:nvPr userDrawn="1"/>
        </p:nvSpPr>
        <p:spPr>
          <a:xfrm>
            <a:off x="2948940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DE661D-D0B2-B64F-82BD-3D94F6023BB5}"/>
              </a:ext>
            </a:extLst>
          </p:cNvPr>
          <p:cNvSpPr txBox="1"/>
          <p:nvPr userDrawn="1"/>
        </p:nvSpPr>
        <p:spPr>
          <a:xfrm>
            <a:off x="327275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56A44A-5B27-6549-BCCB-9CA0EB7CB051}"/>
              </a:ext>
            </a:extLst>
          </p:cNvPr>
          <p:cNvSpPr txBox="1"/>
          <p:nvPr userDrawn="1"/>
        </p:nvSpPr>
        <p:spPr>
          <a:xfrm>
            <a:off x="5509839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2810E12-5685-324C-9255-BB0A7DCEB618}"/>
              </a:ext>
            </a:extLst>
          </p:cNvPr>
          <p:cNvSpPr txBox="1"/>
          <p:nvPr userDrawn="1"/>
        </p:nvSpPr>
        <p:spPr>
          <a:xfrm>
            <a:off x="8114143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6" name="Picture Placeholder 15">
            <a:extLst>
              <a:ext uri="{FF2B5EF4-FFF2-40B4-BE49-F238E27FC236}">
                <a16:creationId xmlns:a16="http://schemas.microsoft.com/office/drawing/2014/main" id="{E391C987-2B98-F34D-A049-FF694B6832C1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51518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80CDE7-24B8-6748-8062-FD1716CE6A43}"/>
              </a:ext>
            </a:extLst>
          </p:cNvPr>
          <p:cNvSpPr txBox="1"/>
          <p:nvPr userDrawn="1"/>
        </p:nvSpPr>
        <p:spPr>
          <a:xfrm>
            <a:off x="341665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268832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7" orient="horz" pos="4368" userDrawn="1">
          <p15:clr>
            <a:srgbClr val="FBAE40"/>
          </p15:clr>
        </p15:guide>
        <p15:guide id="8" orient="horz" pos="4320" userDrawn="1">
          <p15:clr>
            <a:srgbClr val="FBAE40"/>
          </p15:clr>
        </p15:guide>
        <p15:guide id="9" pos="6876" userDrawn="1">
          <p15:clr>
            <a:srgbClr val="FBAE40"/>
          </p15:clr>
        </p15:guide>
        <p15:guide id="12" orient="horz" pos="2592" userDrawn="1">
          <p15:clr>
            <a:srgbClr val="FBAE40"/>
          </p15:clr>
        </p15:guide>
        <p15:guide id="13" orient="horz" pos="2664" userDrawn="1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665664E-29A2-7D47-94A1-F271640173FB}"/>
              </a:ext>
            </a:extLst>
          </p:cNvPr>
          <p:cNvSpPr/>
          <p:nvPr userDrawn="1"/>
        </p:nvSpPr>
        <p:spPr>
          <a:xfrm>
            <a:off x="5486400" y="4114800"/>
            <a:ext cx="5486400" cy="41148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FFAF22CE-B3C3-1A44-BACC-978F7568C3F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86400" y="4"/>
            <a:ext cx="5486400" cy="4138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97673B-4571-B649-85C4-8A05A650B0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8" y="4739966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3C757C-0FF0-224D-AE08-0CD532ED3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78" y="2570453"/>
            <a:ext cx="5017804" cy="3657600"/>
          </a:xfrm>
          <a:prstGeom prst="rect">
            <a:avLst/>
          </a:prstGeom>
        </p:spPr>
        <p:txBody>
          <a:bodyPr/>
          <a:lstStyle>
            <a:lvl1pPr marL="214303" marR="0" indent="-214303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311438" indent="-151433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  <a:lvl3pPr marL="822878" indent="0">
              <a:buNone/>
              <a:defRPr sz="1260">
                <a:latin typeface="GT America" pitchFamily="2" charset="77"/>
              </a:defRPr>
            </a:lvl3pPr>
            <a:lvl4pPr marL="1234319" indent="0">
              <a:buNone/>
              <a:defRPr sz="1260">
                <a:latin typeface="GT America" pitchFamily="2" charset="77"/>
              </a:defRPr>
            </a:lvl4pPr>
            <a:lvl5pPr marL="1645756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.</a:t>
            </a:r>
          </a:p>
          <a:p>
            <a:pPr lvl="1"/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A27059-1E34-1346-B6C7-8FD979A24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8BED4A0-5B15-EB47-A9FC-C5394EAB0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A0B9D8D-C7A3-8D49-B71E-6BEDF4B7D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7F4307F-1CAD-C34F-8498-A81C733DA8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0" y="6659305"/>
            <a:ext cx="2837259" cy="218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89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4" orient="horz" pos="4224" userDrawn="1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DAD5AB0-3A28-2C40-94A3-9BE6620875FD}"/>
              </a:ext>
            </a:extLst>
          </p:cNvPr>
          <p:cNvSpPr/>
          <p:nvPr userDrawn="1"/>
        </p:nvSpPr>
        <p:spPr>
          <a:xfrm>
            <a:off x="5486400" y="4114799"/>
            <a:ext cx="5486400" cy="41148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6" name="Picture Placeholder 71">
            <a:extLst>
              <a:ext uri="{FF2B5EF4-FFF2-40B4-BE49-F238E27FC236}">
                <a16:creationId xmlns:a16="http://schemas.microsoft.com/office/drawing/2014/main" id="{A8C1BABD-5F95-8B4A-B334-C4CFA84E1A1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86400" y="4"/>
            <a:ext cx="5486400" cy="4138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A1BA74-FBAF-474A-B0D1-30863F688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E0FEB22-339C-7843-9A59-9B2765D2A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312AB3-07CD-4F46-87E9-F6D4BA7AA7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854D194-EFC1-E64E-B414-EFED2D365B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8" y="4739966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432B7BB-EDE4-3649-8508-9CF17E729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80" y="2570457"/>
            <a:ext cx="4162723" cy="4744747"/>
          </a:xfrm>
          <a:prstGeom prst="rect">
            <a:avLst/>
          </a:prstGeom>
        </p:spPr>
        <p:txBody>
          <a:bodyPr/>
          <a:lstStyle>
            <a:lvl1pPr marL="214303" marR="0" indent="-214303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311438" indent="-151433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  <a:lvl3pPr marL="822878" indent="0">
              <a:buNone/>
              <a:defRPr sz="1260">
                <a:latin typeface="GT America" pitchFamily="2" charset="77"/>
              </a:defRPr>
            </a:lvl3pPr>
            <a:lvl4pPr marL="1234319" indent="0">
              <a:buNone/>
              <a:defRPr sz="1260">
                <a:latin typeface="GT America" pitchFamily="2" charset="77"/>
              </a:defRPr>
            </a:lvl4pPr>
            <a:lvl5pPr marL="1645756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.</a:t>
            </a:r>
          </a:p>
          <a:p>
            <a:pPr lvl="1"/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.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CC00F7A1-A9C5-E441-82AF-C1C8F645D7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0" y="6659305"/>
            <a:ext cx="2837259" cy="218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758025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F1B7ED3-6B19-954B-A4E1-DE64D8A79994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44283" y="30701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8.5bn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9BDDCDB-D517-FD4B-8E5B-E4A3107F7729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EABD1-DAEF-9F40-81E8-852E00DE461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2EE4034-E1C7-7246-BA8C-5B5F427B73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71972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996FD47-10E5-F947-A4C3-040AA004CF0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92002B-F90E-E84E-BDA2-66BF0D5E01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4470"/>
            <a:ext cx="2634680" cy="3750732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0668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04" userDrawn="1">
          <p15:clr>
            <a:srgbClr val="FBAE40"/>
          </p15:clr>
        </p15:guide>
        <p15:guide id="4" orient="horz" pos="3264" userDrawn="1">
          <p15:clr>
            <a:srgbClr val="FBAE40"/>
          </p15:clr>
        </p15:guide>
        <p15:guide id="5" orient="horz" pos="4536" userDrawn="1">
          <p15:clr>
            <a:srgbClr val="FBAE40"/>
          </p15:clr>
        </p15:guide>
        <p15:guide id="8" orient="horz" pos="2592" userDrawn="1">
          <p15:clr>
            <a:srgbClr val="FBAE40"/>
          </p15:clr>
        </p15:guide>
        <p15:guide id="9" orient="horz" pos="1896" userDrawn="1">
          <p15:clr>
            <a:srgbClr val="FBAE40"/>
          </p15:clr>
        </p15:guide>
        <p15:guide id="10" orient="horz" pos="1728" userDrawn="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D38AB2D-B406-FF4B-BF0F-083823599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F8B370F0-3B52-6149-82EB-A212DA08E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81B99F6-04F9-D143-91F5-58FFD93642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E75B37E-2995-DA45-96DB-2E749ECFB873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0C58EB2-5C0C-EF4F-9EDE-FE88CABE6E27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0D13308-388E-B540-AA97-7043001F231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057F9DC6-0F74-B443-9FA8-54EDD4D9A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5542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4ACFCC-1045-4949-BEE9-4720F6600E5D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C8021D3-26ED-BE41-8ACF-523C581EEA0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0EDEEFC5-5AEC-D343-BC64-A20DF26168F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EBAE028-A2DC-FE47-BF1B-7F1EE102399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15444EA-5BE2-3A43-8A37-8ECD679B669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549645D7-2239-E34E-977B-8B0EB55B7D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5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43398B6-2A74-6F4A-8075-5D10728268B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71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303D567E-6E90-744C-B2A0-D643E0F637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452111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4DB436AF-4BF3-EC47-8D2C-8AF9147E08C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38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A9F7746-7522-DD44-83E8-BE7A0F4CFA3B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EE26970-DA91-D24A-B24E-9DADEFA332A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2"/>
            <a:ext cx="2634680" cy="3730752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22474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 userDrawn="1">
          <p15:clr>
            <a:srgbClr val="FBAE40"/>
          </p15:clr>
        </p15:guide>
        <p15:guide id="2" orient="horz" pos="3264" userDrawn="1">
          <p15:clr>
            <a:srgbClr val="FBAE40"/>
          </p15:clr>
        </p15:guide>
        <p15:guide id="3" orient="horz" pos="453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CB95045-5EFA-FD48-96A2-86695AE602C6}"/>
              </a:ext>
            </a:extLst>
          </p:cNvPr>
          <p:cNvSpPr/>
          <p:nvPr userDrawn="1"/>
        </p:nvSpPr>
        <p:spPr>
          <a:xfrm>
            <a:off x="7324343" y="2285998"/>
            <a:ext cx="3662172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E60E0A-C2F3-E648-889E-E2559A21D98E}"/>
              </a:ext>
            </a:extLst>
          </p:cNvPr>
          <p:cNvSpPr/>
          <p:nvPr userDrawn="1"/>
        </p:nvSpPr>
        <p:spPr>
          <a:xfrm>
            <a:off x="3662171" y="2285998"/>
            <a:ext cx="3662172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4D0728-043B-8E46-B4F5-BF5D9993809A}"/>
              </a:ext>
            </a:extLst>
          </p:cNvPr>
          <p:cNvSpPr/>
          <p:nvPr userDrawn="1"/>
        </p:nvSpPr>
        <p:spPr>
          <a:xfrm>
            <a:off x="-1" y="2286000"/>
            <a:ext cx="3662172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64812A-2556-C641-A251-A50CE98C573F}"/>
              </a:ext>
            </a:extLst>
          </p:cNvPr>
          <p:cNvCxnSpPr/>
          <p:nvPr userDrawn="1"/>
        </p:nvCxnSpPr>
        <p:spPr>
          <a:xfrm>
            <a:off x="3660081" y="2103120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E3ADC4-BBD0-F642-9C8F-99BFD6B59B65}"/>
              </a:ext>
            </a:extLst>
          </p:cNvPr>
          <p:cNvCxnSpPr/>
          <p:nvPr userDrawn="1"/>
        </p:nvCxnSpPr>
        <p:spPr>
          <a:xfrm>
            <a:off x="7324343" y="2194924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5BCC073-AE51-D345-AEB5-1BFF0D01F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969B57E-C4AA-1C4C-9D96-8EB1CE29C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8BB7DD6-A719-8740-A2D8-C776C5E6B6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EFFFC6E-882C-7C46-B189-2B2DB7B483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7C11F3C-52FB-1C4F-9EF3-27FF3841B6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66670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641664A-B770-234A-AE28-DFBA24D59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24270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9E8A2B3-D988-CE4D-9053-B6B9A5E2A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237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DBFCC85-7F6B-DD48-A664-DFD5053951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71687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9870FD0-57D9-1349-9542-8298039A8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18898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4225478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02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665877-4334-864C-9D33-4C963E2EB9A6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FD0ECCA-7FBF-EC45-80FA-79AEE8526D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98010" y="33125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ACC7B9EA-F978-A348-9397-F545378C0F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3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792D6B90-E22B-B54F-AB02-2FE60B59EE9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2505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242A32C-70DA-3541-86E4-DEB88241A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7A176CA7-E579-424E-9650-7B467D40A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BA2D8BF-E617-1240-ADA0-BE5CB0E8E3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ECE185B-F547-894B-BA13-E24374A0F87B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6756D6F-CB84-2843-AB66-8CB231DB23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5382E83-076B-4D41-B816-E9739B0FEF6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9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1B34D03-1108-114D-9626-7F3D9985BA2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830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60B174F-49F1-DE43-8BF9-56D0BA220C0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34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CDAA985-C7B7-6F44-AD22-64271D1B3E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159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EABDBAC-4361-8D4E-BFE1-06CA51AE90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830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DC8F02FE-06F8-1049-A01C-F444135B2E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9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A9ABE5EE-89CE-0346-868E-F3A335C3F3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A4278D69-396D-6445-A156-2E8A2EC75A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730EFD7-C2C5-1748-B34C-EFA109D4819B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51197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728" userDrawn="1">
          <p15:clr>
            <a:srgbClr val="FBAE40"/>
          </p15:clr>
        </p15:guide>
        <p15:guide id="6" orient="horz" pos="2208" userDrawn="1">
          <p15:clr>
            <a:srgbClr val="FBAE40"/>
          </p15:clr>
        </p15:guide>
        <p15:guide id="7" orient="horz" pos="3264" userDrawn="1">
          <p15:clr>
            <a:srgbClr val="FBAE40"/>
          </p15:clr>
        </p15:guide>
        <p15:guide id="8" orient="horz" pos="3456" userDrawn="1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0AC17228-FDCA-4041-9A54-ADC0FEE9C55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10972800" cy="8229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lace image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8504AF-9EF1-5449-88C1-29BE7D24B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4783DF6-41E2-4D4B-BAFD-D284B0B5C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90970C6-B662-AE44-B459-54AABA9B3C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770E5FF6-7D6B-7947-886D-08B5315828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3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16B6CA-AD7F-CD4D-A695-CC8B343A3E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3" y="3397650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u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193560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 userDrawn="1">
          <p15:clr>
            <a:srgbClr val="FBAE40"/>
          </p15:clr>
        </p15:guide>
        <p15:guide id="2" orient="horz" pos="2184" userDrawn="1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403E054-70E9-7E45-B65A-CB417AF6B088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5486401" y="1817370"/>
            <a:ext cx="5246484" cy="549783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96A91FC-055C-7A44-8AD4-5530B82A27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2E14EE6-88ED-824E-926A-F12F0DF35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B36D71-9C76-8443-926C-09D9F3B83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EF3EAB3-F5C8-2B46-A853-E9AE626EDC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42E972-57AB-2143-AB8E-FBDCCF5852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82179" y="4257554"/>
            <a:ext cx="2486901" cy="3057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39E6D7-7242-774B-B1AC-9AB4CB9957A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7756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589E4F8-A981-E747-A67E-C2EEC2271DD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877803" y="4257554"/>
            <a:ext cx="2486901" cy="3057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658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84" userDrawn="1">
          <p15:clr>
            <a:srgbClr val="FBAE40"/>
          </p15:clr>
        </p15:guide>
        <p15:guide id="2" pos="6066" userDrawn="1">
          <p15:clr>
            <a:srgbClr val="FBAE40"/>
          </p15:clr>
        </p15:guide>
        <p15:guide id="3" orient="horz" pos="1152" userDrawn="1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6129327" cy="4419591"/>
          </a:xfrm>
          <a:prstGeom prst="rect">
            <a:avLst/>
          </a:prstGeom>
        </p:spPr>
        <p:txBody>
          <a:bodyPr/>
          <a:lstStyle>
            <a:lvl1pPr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1B22384-DF50-5345-8A18-D597B10BBA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20684" y="5952700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14,890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075D076-EDAE-D842-A7DA-A38169906A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5589" y="5205422"/>
            <a:ext cx="1408339" cy="3000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F0016F-BC3A-9F45-9A7C-DAD9D6B7CE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35589" y="6524757"/>
            <a:ext cx="1408339" cy="3000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86303E-980F-0D4F-8909-084E1AD5AE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35589" y="3668908"/>
            <a:ext cx="1408339" cy="278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B813071-AF69-734D-AC8C-78856B98881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20684" y="4636804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11,377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05767" y="2745303"/>
            <a:ext cx="3374464" cy="847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86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37,540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hart Placeholder 23">
            <a:extLst>
              <a:ext uri="{FF2B5EF4-FFF2-40B4-BE49-F238E27FC236}">
                <a16:creationId xmlns:a16="http://schemas.microsoft.com/office/drawing/2014/main" id="{D257CB94-FEC5-014F-8EFE-1ECC6EBF358A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8858252" y="5791201"/>
            <a:ext cx="885825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Chart Placeholder 23">
            <a:extLst>
              <a:ext uri="{FF2B5EF4-FFF2-40B4-BE49-F238E27FC236}">
                <a16:creationId xmlns:a16="http://schemas.microsoft.com/office/drawing/2014/main" id="{EFB9E721-3106-5B44-9C3D-2A07F980F882}"/>
              </a:ext>
            </a:extLst>
          </p:cNvPr>
          <p:cNvSpPr>
            <a:spLocks noGrp="1"/>
          </p:cNvSpPr>
          <p:nvPr>
            <p:ph type="chart" sz="quarter" idx="35"/>
          </p:nvPr>
        </p:nvSpPr>
        <p:spPr>
          <a:xfrm>
            <a:off x="8858252" y="4470401"/>
            <a:ext cx="885825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98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6" orient="horz" pos="2256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  <p15:guide id="8" orient="horz" pos="3216" userDrawn="1">
          <p15:clr>
            <a:srgbClr val="FBAE40"/>
          </p15:clr>
        </p15:guide>
        <p15:guide id="9" orient="horz" pos="3648" userDrawn="1">
          <p15:clr>
            <a:srgbClr val="FBAE40"/>
          </p15:clr>
        </p15:guide>
        <p15:guide id="10" orient="horz" pos="4632" userDrawn="1">
          <p15:clr>
            <a:srgbClr val="FBAE40"/>
          </p15:clr>
        </p15:guide>
        <p15:guide id="11" pos="4014" userDrawn="1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6129327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35586" y="2745303"/>
            <a:ext cx="2608491" cy="4569893"/>
          </a:xfrm>
          <a:prstGeom prst="rect">
            <a:avLst/>
          </a:prstGeom>
        </p:spPr>
        <p:txBody>
          <a:bodyPr>
            <a:noAutofit/>
          </a:bodyPr>
          <a:lstStyle>
            <a:lvl1pPr marL="128582" indent="-128582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297301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6" orient="horz" pos="2256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  <p15:guide id="8" orient="horz" pos="3216" userDrawn="1">
          <p15:clr>
            <a:srgbClr val="FBAE40"/>
          </p15:clr>
        </p15:guide>
        <p15:guide id="9" orient="horz" pos="3648" userDrawn="1">
          <p15:clr>
            <a:srgbClr val="FBAE40"/>
          </p15:clr>
        </p15:guide>
        <p15:guide id="11" pos="4014" userDrawn="1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7858125" y="4800600"/>
            <a:ext cx="0" cy="2400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7562" y="27399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51.7 bn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00634" y="55579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.5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5" y="45720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5579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2.6</a:t>
            </a:r>
          </a:p>
        </p:txBody>
      </p:sp>
      <p:sp>
        <p:nvSpPr>
          <p:cNvPr id="18" name="Chart Placeholder 10">
            <a:extLst>
              <a:ext uri="{FF2B5EF4-FFF2-40B4-BE49-F238E27FC236}">
                <a16:creationId xmlns:a16="http://schemas.microsoft.com/office/drawing/2014/main" id="{B0131088-638E-2A44-A74D-2900B64C7C2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5173327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F9FCC29-F0D0-304E-995F-33163D18DA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6875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824548-903C-7046-A2B1-1A4A470F218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0C05ED0-6CED-5A4C-9B70-32FAD61E63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722D13D-811D-A945-892A-F29F13F5710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464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880" userDrawn="1">
          <p15:clr>
            <a:srgbClr val="FBAE40"/>
          </p15:clr>
        </p15:guide>
        <p15:guide id="4" orient="horz" pos="3024" userDrawn="1">
          <p15:clr>
            <a:srgbClr val="FBAE40"/>
          </p15:clr>
        </p15:guide>
        <p15:guide id="5" orient="horz" pos="4536" userDrawn="1">
          <p15:clr>
            <a:srgbClr val="FBAE40"/>
          </p15:clr>
        </p15:guide>
        <p15:guide id="8" orient="horz" pos="1440" userDrawn="1">
          <p15:clr>
            <a:srgbClr val="FBAE40"/>
          </p15:clr>
        </p15:guide>
        <p15:guide id="9" orient="horz" pos="1872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810AD1-3CD3-3248-98AD-7E0A36814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14E05EF-B2AD-7249-B549-5A1DF77EC3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AE03481-D227-7A4C-9313-AFFC89DFC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BB0F561-93A6-E74A-AF14-BA82FA3B712A}"/>
              </a:ext>
            </a:extLst>
          </p:cNvPr>
          <p:cNvCxnSpPr>
            <a:cxnSpLocks/>
          </p:cNvCxnSpPr>
          <p:nvPr userDrawn="1"/>
        </p:nvCxnSpPr>
        <p:spPr>
          <a:xfrm>
            <a:off x="342902" y="2133600"/>
            <a:ext cx="4714875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A5AEB9-0B74-4046-A12A-98536C351C5E}"/>
              </a:ext>
            </a:extLst>
          </p:cNvPr>
          <p:cNvCxnSpPr>
            <a:cxnSpLocks/>
          </p:cNvCxnSpPr>
          <p:nvPr userDrawn="1"/>
        </p:nvCxnSpPr>
        <p:spPr>
          <a:xfrm>
            <a:off x="5886450" y="2133600"/>
            <a:ext cx="474345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B9E514-F681-3B43-AAF7-A03BC614DCD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3101E2A-2185-A945-BAC8-2CC31125EEA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18402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8" name="Chart Placeholder 10">
            <a:extLst>
              <a:ext uri="{FF2B5EF4-FFF2-40B4-BE49-F238E27FC236}">
                <a16:creationId xmlns:a16="http://schemas.microsoft.com/office/drawing/2014/main" id="{991788D2-6434-124D-B338-6C9E13395A8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0" y="2895607"/>
            <a:ext cx="4714876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Chart Placeholder 10">
            <a:extLst>
              <a:ext uri="{FF2B5EF4-FFF2-40B4-BE49-F238E27FC236}">
                <a16:creationId xmlns:a16="http://schemas.microsoft.com/office/drawing/2014/main" id="{D0FFE140-821E-364E-B597-19750F5E80F6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5905500" y="2895607"/>
            <a:ext cx="4714876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583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6" userDrawn="1">
          <p15:clr>
            <a:srgbClr val="FBAE40"/>
          </p15:clr>
        </p15:guide>
        <p15:guide id="3" orient="horz" pos="1344" userDrawn="1">
          <p15:clr>
            <a:srgbClr val="FBAE40"/>
          </p15:clr>
        </p15:guide>
        <p15:guide id="4" orient="horz" pos="1440" userDrawn="1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10">
            <a:extLst>
              <a:ext uri="{FF2B5EF4-FFF2-40B4-BE49-F238E27FC236}">
                <a16:creationId xmlns:a16="http://schemas.microsoft.com/office/drawing/2014/main" id="{297EF4DF-EEA0-C14B-8C81-FADDCFF31A89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2" y="2524601"/>
            <a:ext cx="4840725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0CF763CC-227B-2947-8AD7-669576A57A88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537424" y="2524606"/>
            <a:ext cx="5199458" cy="479059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2F8EC12-2E52-1D4E-8CAB-CA9D7AF178EA}"/>
              </a:ext>
            </a:extLst>
          </p:cNvPr>
          <p:cNvCxnSpPr>
            <a:cxnSpLocks/>
          </p:cNvCxnSpPr>
          <p:nvPr userDrawn="1"/>
        </p:nvCxnSpPr>
        <p:spPr>
          <a:xfrm>
            <a:off x="342902" y="4800629"/>
            <a:ext cx="5000625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4067C59-E355-0F45-815B-04000CC0F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584F696-EB57-EF4F-B9BE-DD73C5148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CC34BF5-5F1D-1B41-9DCE-569056C367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1B65A7-0666-1843-B6A6-10F76FE172DD}"/>
              </a:ext>
            </a:extLst>
          </p:cNvPr>
          <p:cNvCxnSpPr>
            <a:cxnSpLocks/>
          </p:cNvCxnSpPr>
          <p:nvPr userDrawn="1"/>
        </p:nvCxnSpPr>
        <p:spPr>
          <a:xfrm>
            <a:off x="342901" y="21336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DBD27E2-5C7A-5D49-A7D0-E7D58B4C7272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1336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407B9A0-A159-EC4C-B00A-C605D0C8CF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538647" y="2225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A00FF57-B8E8-E147-ABBA-985C8D7BD6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0847" y="2225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6" name="Chart Placeholder 10">
            <a:extLst>
              <a:ext uri="{FF2B5EF4-FFF2-40B4-BE49-F238E27FC236}">
                <a16:creationId xmlns:a16="http://schemas.microsoft.com/office/drawing/2014/main" id="{EDF3F533-F9BE-974D-9C5E-80E488BA2A49}"/>
              </a:ext>
            </a:extLst>
          </p:cNvPr>
          <p:cNvSpPr>
            <a:spLocks noGrp="1"/>
          </p:cNvSpPr>
          <p:nvPr>
            <p:ph type="chart" sz="quarter" idx="63"/>
          </p:nvPr>
        </p:nvSpPr>
        <p:spPr>
          <a:xfrm>
            <a:off x="342902" y="5191601"/>
            <a:ext cx="4840725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D5F5424-E1F2-3C47-948D-7F84DFAD3AE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0847" y="4892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879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  <p15:guide id="2" orient="horz" pos="2952" userDrawn="1">
          <p15:clr>
            <a:srgbClr val="FBAE40"/>
          </p15:clr>
        </p15:guide>
        <p15:guide id="3" orient="horz" pos="1584" userDrawn="1">
          <p15:clr>
            <a:srgbClr val="FBAE40"/>
          </p15:clr>
        </p15:guide>
        <p15:guide id="4" orient="horz" pos="3264" userDrawn="1">
          <p15:clr>
            <a:srgbClr val="FBAE40"/>
          </p15:clr>
        </p15:guide>
        <p15:guide id="5" pos="3258" userDrawn="1">
          <p15:clr>
            <a:srgbClr val="FBAE40"/>
          </p15:clr>
        </p15:guide>
        <p15:guide id="7" pos="6768" userDrawn="1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4FD1F37D-CDDB-0F40-8024-6FE33232572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42900" y="1600200"/>
            <a:ext cx="9886950" cy="57531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9B492A2-E489-124B-8590-6C0A7F3E0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6EEC542-18BA-B24E-807C-41CBBF20EE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79F894B-1FED-1245-97AE-8AB3F133AB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476919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64" userDrawn="1">
          <p15:clr>
            <a:srgbClr val="FBAE40"/>
          </p15:clr>
        </p15:guide>
        <p15:guide id="2" orient="horz" pos="1008" userDrawn="1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15">
            <a:extLst>
              <a:ext uri="{FF2B5EF4-FFF2-40B4-BE49-F238E27FC236}">
                <a16:creationId xmlns:a16="http://schemas.microsoft.com/office/drawing/2014/main" id="{70330F66-71DD-C040-9AEE-D6C10A76785F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42900" y="2286000"/>
            <a:ext cx="10287000" cy="4610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C53B2-5349-1947-8C1E-E58DFF586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3F88C7F-CC0C-0D45-A8CC-A87557038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CEE5879-8659-2C46-8C0E-6E341E7CC1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3336223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76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3" orient="horz" pos="4344" userDrawn="1">
          <p15:clr>
            <a:srgbClr val="FBAE40"/>
          </p15:clr>
        </p15:guide>
        <p15:guide id="4" pos="682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1CA15B-0DC0-FA49-85C2-FA530C8F30B5}"/>
              </a:ext>
            </a:extLst>
          </p:cNvPr>
          <p:cNvSpPr/>
          <p:nvPr userDrawn="1"/>
        </p:nvSpPr>
        <p:spPr>
          <a:xfrm>
            <a:off x="7" y="2286000"/>
            <a:ext cx="2740457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16500F-B1A9-4645-882F-C86D370553D8}"/>
              </a:ext>
            </a:extLst>
          </p:cNvPr>
          <p:cNvSpPr/>
          <p:nvPr userDrawn="1"/>
        </p:nvSpPr>
        <p:spPr>
          <a:xfrm>
            <a:off x="2736371" y="2285998"/>
            <a:ext cx="2740457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448808-F38D-0243-B81C-1B75E52611FF}"/>
              </a:ext>
            </a:extLst>
          </p:cNvPr>
          <p:cNvSpPr/>
          <p:nvPr userDrawn="1"/>
        </p:nvSpPr>
        <p:spPr>
          <a:xfrm>
            <a:off x="5472734" y="2285998"/>
            <a:ext cx="2740457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rgbClr val="73C0FF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25F0D-9D79-944D-98C3-79128E3BF0BA}"/>
              </a:ext>
            </a:extLst>
          </p:cNvPr>
          <p:cNvSpPr/>
          <p:nvPr userDrawn="1"/>
        </p:nvSpPr>
        <p:spPr>
          <a:xfrm>
            <a:off x="8217615" y="2285998"/>
            <a:ext cx="2758001" cy="5029202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FF31F-07CC-8D41-8031-CFAEFCE4A73B}"/>
              </a:ext>
            </a:extLst>
          </p:cNvPr>
          <p:cNvCxnSpPr/>
          <p:nvPr userDrawn="1"/>
        </p:nvCxnSpPr>
        <p:spPr>
          <a:xfrm>
            <a:off x="2736364" y="2206659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C9DC4D7-1B1E-174C-940D-A3793C843D01}"/>
              </a:ext>
            </a:extLst>
          </p:cNvPr>
          <p:cNvCxnSpPr/>
          <p:nvPr userDrawn="1"/>
        </p:nvCxnSpPr>
        <p:spPr>
          <a:xfrm>
            <a:off x="5465474" y="2181945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93BB7E-F5F2-E649-8033-7166E90A7207}"/>
              </a:ext>
            </a:extLst>
          </p:cNvPr>
          <p:cNvCxnSpPr/>
          <p:nvPr userDrawn="1"/>
        </p:nvCxnSpPr>
        <p:spPr>
          <a:xfrm>
            <a:off x="8213184" y="2194302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80002C4-0FB2-5844-A675-D6F402F57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1DD1F092-6564-A645-82F4-978A0E34CD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D7F8090-242A-7D45-B018-EC8BB81EF6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739A91B-ECAC-694E-B1D4-B08743F7A7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3DFE6B0-7DF2-6642-83E1-66F1093474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5442459-8373-1A41-9688-B9B8082602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9672854A-915C-CB40-9798-89F42D35DA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6F2C4F87-A008-5845-BCBD-D3097A7558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7108E50-1C2C-2B4B-B315-85FB3DD1EC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77F7913-4904-164E-A7C4-69D8433AC5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2501913-11BF-844A-B7B0-1D42A71BA73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450689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4104D62-73E6-5B42-BD35-00CF80AE5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526" y="1549400"/>
            <a:ext cx="8327135" cy="624535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51329D8A-67D3-DA48-AE3F-2E65C6CEB0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4015" y="382368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94CF4528-465A-B44E-AA97-0546ACEC53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7003" y="382368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76DCCC1C-1103-CD46-9BD1-BD2B7DC0B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198" y="5923057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C2AC456B-3A6A-194A-B655-9BEBD5781A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186" y="5923057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C489074A-EA72-8747-B5E6-F943B42198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83184" y="4263200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C717E74A-F4BB-F543-878B-EFFCC950D6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26172" y="4263200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4446F7A9-B883-6C45-8B65-1AB08F48BF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87294" y="5905448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2" name="Text Placeholder 14">
            <a:extLst>
              <a:ext uri="{FF2B5EF4-FFF2-40B4-BE49-F238E27FC236}">
                <a16:creationId xmlns:a16="http://schemas.microsoft.com/office/drawing/2014/main" id="{1ED9D119-EA92-2040-808F-0BF5119B40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0282" y="5905448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46811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692" userDrawn="1">
          <p15:clr>
            <a:srgbClr val="FBAE40"/>
          </p15:clr>
        </p15:guide>
        <p15:guide id="5" pos="1620" userDrawn="1">
          <p15:clr>
            <a:srgbClr val="FBAE40"/>
          </p15:clr>
        </p15:guide>
        <p15:guide id="6" orient="horz" pos="1032" userDrawn="1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D4C399B-3FBF-054B-8D28-B5E6D783C4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980" y="1450244"/>
            <a:ext cx="8757666" cy="65682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19491" y="7612690"/>
            <a:ext cx="277554" cy="174679"/>
          </a:xfr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09879" y="7615599"/>
            <a:ext cx="3703320" cy="218918"/>
          </a:xfr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993E778B-ECC0-134B-87AC-D2B442A710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910" y="38576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1350" b="1" i="0" dirty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Title He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0E88AA6E-E383-4D47-AA7A-D58DBAD68A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413" y="38576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3726C250-E818-6C4A-8840-F45CD72DC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1760" y="60547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F61BBF6-510D-884F-98C3-11B80AF72E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1263" y="60547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3D512553-3B7E-574B-BF8F-64364FF8E9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34941" y="59531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AB7CB3EF-698A-0444-851E-DCED8E0B636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4444" y="59531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EA9C0B7B-B9D8-C444-9C94-17EE39A248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50579" y="42894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926480A5-4ACF-7440-95FF-F63734BD7C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0082" y="42894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173059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272" userDrawn="1">
          <p15:clr>
            <a:srgbClr val="FBAE40"/>
          </p15:clr>
        </p15:guide>
        <p15:guide id="3" orient="horz" pos="2592" userDrawn="1">
          <p15:clr>
            <a:srgbClr val="FBAE40"/>
          </p15:clr>
        </p15:guide>
        <p15:guide id="4" orient="horz" pos="3888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pos="5778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DC5DEFF-DF4D-8F4E-933C-542362FED5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02920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Plex Sans Light" panose="020B0403050000000000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50B0D1-0C9D-624A-9F21-E20643433F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9B10177-CC44-8C47-8D0E-F72734A81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73C0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4D911AD-1037-E842-93B2-0783C91175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E34AEB90-AA0C-3E4C-A502-88A2543AE8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1754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07A9891-9EA4-6A48-9E22-302B9EF36C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7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B00D1C-65A4-1044-A59D-A128D5EC11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6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en-US" sz="6000" b="1" i="0" dirty="0">
                <a:solidFill>
                  <a:srgbClr val="002577"/>
                </a:solidFill>
                <a:latin typeface="IBM Plex Sans" panose="020B0503050203000203" pitchFamily="34" charset="0"/>
              </a:defRPr>
            </a:lvl1pPr>
          </a:lstStyle>
          <a:p>
            <a:pPr marL="205720" lvl="0" indent="-205720" algn="ctr">
              <a:lnSpc>
                <a:spcPct val="85000"/>
              </a:lnSpc>
            </a:pPr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ACCD9A0-40BD-D74A-ABEB-3B574060A4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5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431372D-6D5A-4112-933E-1DCC9F7D19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9996" y="480256"/>
            <a:ext cx="1892808" cy="1098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43470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E105F7-1BB2-F34D-985C-F926963095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7178BE-4645-7249-A632-CD9EF34D5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2AD0116-3696-BD4B-A8E6-28DC783419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1" y="2975959"/>
            <a:ext cx="10226993" cy="2277683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6000" b="1" i="0" dirty="0">
                <a:solidFill>
                  <a:srgbClr val="002577"/>
                </a:solidFill>
                <a:latin typeface="IBM Plex Sans" panose="020B050305020300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Thank you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20DCA0D-6C9C-4840-8BF5-F1C4AAB39470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2218892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 userDrawn="1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2A042-2972-BC4D-B818-B0124095F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88CC1EAB-BEEB-0142-A1BA-F7313EF40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412CE64-6FAA-4923-B9E4-5C09A2DE2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5616" y="3127401"/>
            <a:ext cx="3401568" cy="197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7636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0C9CB4-B08E-DF45-B296-5B3DFF34A4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AA584-27BB-2F40-A904-0D13D24B3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025FDBF-FBAB-9144-90F0-4E5B96A09A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4050" b="1" i="0" dirty="0">
                <a:solidFill>
                  <a:schemeClr val="accent1"/>
                </a:solidFill>
                <a:latin typeface="IBM Plex Sans" panose="020B050305020300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2603285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4" userDrawn="1">
          <p15:clr>
            <a:srgbClr val="FBAE40"/>
          </p15:clr>
        </p15:guide>
        <p15:guide id="2" orient="horz" userDrawn="1">
          <p15:clr>
            <a:srgbClr val="FBAE40"/>
          </p15:clr>
        </p15:guide>
        <p15:guide id="3" userDrawn="1">
          <p15:clr>
            <a:srgbClr val="FBAE40"/>
          </p15:clr>
        </p15:guide>
        <p15:guide id="4" pos="6912" userDrawn="1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C0B67F8-4B23-4242-B45B-74CFFAD9C9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17147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002677"/>
                </a:solidFill>
                <a:latin typeface="IBM Plex Sans Light" panose="020B0403050000000000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BD905AF-340E-BB48-968E-98622EF3A8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B3C1B4ED-375C-F840-82BA-0FEF778EC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BB234D2-4E19-174B-B5CE-5A78159B4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BD589BE-546F-9544-BEC8-7CB3EF705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68618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1960E23-FBD9-6647-A373-98A4444F63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DD267E6-E00F-9346-9BAF-BD7F2E16D8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D72741-C454-5D4C-91E8-8E2E5FD06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553DADC-9F0C-9344-A677-AAF158AEC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5800886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D82C94A-F9C7-284E-853B-2E07ACB528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798575A-8932-9A49-B871-90157E1FC9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31" y="501421"/>
            <a:ext cx="4187971" cy="507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E95A5F9-F875-6C49-96D8-9A67643491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6333A04-D700-1045-90EC-0A78B39C3F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8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295021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69D7DFC-1099-1746-ADF1-909D42C622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9717" y="438055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B2AEFFC-36FA-DA45-A980-62BC975A31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36617" y="431037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7ED6AFB-6FB3-7440-B489-CD200AE6B5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7022" y="779468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AD82C669-BFF4-6441-97EE-76036B5AF2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19423A1B-70A4-DD45-AAD3-7E09BE267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7C9121C-114C-8E45-9D47-399B0C5BB6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3276887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23F73415-9424-3D41-A915-14E74B5412F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29717" y="1380807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69942FB6-6C4B-064F-BF72-3F67107FB22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36617" y="1373789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7F34662-6718-2A41-8BC8-656955C1FC1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137022" y="1722220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70C7F770-653E-3F47-A963-EF00C7F66CC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29717" y="22952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35B71456-1F90-CE4C-8A7A-405D94297A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36617" y="22881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E110D69C-A7B6-414D-891C-B12C8362C72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37022" y="26366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012600EF-A3C0-5647-A4EB-A23FD379EE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29717" y="32096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980B827E-5D10-9045-BE57-3772946E7C4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36617" y="32025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4BE11A2A-277C-E34C-8080-87DA1081A60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37022" y="35510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7B3A6ACA-6A51-F645-B1A7-96BB7D8341F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222508" y="438055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C4C6F39D-F727-CD41-BED3-131081D6B7D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29406" y="431037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11C0F3E5-4856-1A4C-AD0F-2B7CE8CDCE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629811" y="779468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FA849705-29FD-8844-A337-F6FCDE660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22508" y="1380807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C7B581DD-DB5E-FB4C-9686-8E0549A0EB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29406" y="1373789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781964BB-5C6D-9341-93A4-69C3AAEB50B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629811" y="1722220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B8043DE7-2CDB-FF48-BF5C-CD5CB27E6E3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22508" y="22952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45242C1D-7379-A143-A0AF-BF2180C465D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9406" y="22881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76F0D62-7A00-0448-8018-B623ECFCF6A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629811" y="26366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7" name="Text Placeholder 6">
            <a:extLst>
              <a:ext uri="{FF2B5EF4-FFF2-40B4-BE49-F238E27FC236}">
                <a16:creationId xmlns:a16="http://schemas.microsoft.com/office/drawing/2014/main" id="{6FD7C259-F4F1-294E-B3F4-5E5936D320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22508" y="32096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3B66F0FC-35F5-854C-9559-A2664673A09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29406" y="32025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9" name="Text Placeholder 4">
            <a:extLst>
              <a:ext uri="{FF2B5EF4-FFF2-40B4-BE49-F238E27FC236}">
                <a16:creationId xmlns:a16="http://schemas.microsoft.com/office/drawing/2014/main" id="{57EB4E2C-A33F-A946-B3FB-7704F3B71E7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629811" y="35510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2865760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6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F2F95F8-4E80-234C-8A79-9CDC432126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F85D0F6-27B0-CE42-9210-F8A3DCDCA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A823567-F4CC-A44A-B914-76FF7358F4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82056-9C51-3149-ACC8-7FDA967EF7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968733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44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0FB860-59F4-0949-81E8-923023D66D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114" y="7615682"/>
            <a:ext cx="336252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748E0B-8131-E648-BBB2-5304F9040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7A9D8E9-249B-0540-A4E3-F073E1E8915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86400" y="0"/>
            <a:ext cx="5486400" cy="8229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75787B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b="0" i="0" dirty="0">
                <a:latin typeface="Segoe UI" panose="020B0502040204020203" pitchFamily="34" charset="0"/>
                <a:cs typeface="Segoe UI" panose="020B0502040204020203" pitchFamily="34" charset="0"/>
              </a:rPr>
              <a:t>IMAGE  PLACEHOLDER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C8FD689-E95A-7C48-B4DE-AFFF822A82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7B54C4-C5A0-0B4E-8CD3-36B196B143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128060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0" userDrawn="1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0" y="4627344"/>
            <a:ext cx="10972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6DC2001-AC0D-3F41-87FE-27FD1320B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4456395" y="2021304"/>
            <a:ext cx="0" cy="5212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030915" y="2021304"/>
            <a:ext cx="0" cy="5212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id="{FA7C2E4F-5A3D-FE46-B30F-595E936418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C97F4025-1428-E848-AB50-95898C85EE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6A745FEC-0DCE-D347-A303-F04698E051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5E99F75-E396-854D-A64C-EFF76DC40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4C5EE9B-493D-B04D-A576-C96F91A0BB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705B5911-3B2D-CC4C-874A-11225C04D0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11D8F1D-5590-9C4F-809E-6F6E152836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BA4ADCC-84A0-AE45-8374-C9C0D3F611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991205A-62B3-A64A-88D3-52FA74BEEE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F815BA2-DF20-C347-B889-CB5E7C4A0CE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5A7E8000-DC19-1D4F-9A5E-531B5751FC8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43BB231-9E79-B948-B4DC-6003601A93E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4DAE56D6-9E95-A649-B4C9-07D39FCA89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BA30A8D-AE69-6D4A-901B-2CA3F13538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9B4A676C-3C2C-754D-A494-C95EA23B9A5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6D2C611-C7BC-2445-B6E1-D6F2CE80DF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B05ACC63-2749-C44E-AF5C-7AEA316C91A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6AF4496-A798-E14B-B314-8070E237250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728676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2" userDrawn="1">
          <p15:clr>
            <a:srgbClr val="FBAE40"/>
          </p15:clr>
        </p15:guide>
        <p15:guide id="2" pos="3690" userDrawn="1">
          <p15:clr>
            <a:srgbClr val="FBAE40"/>
          </p15:clr>
        </p15:guide>
        <p15:guide id="3" pos="5418" userDrawn="1">
          <p15:clr>
            <a:srgbClr val="FBAE40"/>
          </p15:clr>
        </p15:guide>
        <p15:guide id="4" orient="horz" pos="3120" userDrawn="1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878966A-1635-A948-B6CB-D922DE71130A}"/>
              </a:ext>
            </a:extLst>
          </p:cNvPr>
          <p:cNvSpPr/>
          <p:nvPr userDrawn="1"/>
        </p:nvSpPr>
        <p:spPr>
          <a:xfrm>
            <a:off x="0" y="2286000"/>
            <a:ext cx="10972800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1" y="4800600"/>
            <a:ext cx="10976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7F96F0-9F1C-DD40-8D68-283BAD32A2E5}"/>
              </a:ext>
            </a:extLst>
          </p:cNvPr>
          <p:cNvCxnSpPr>
            <a:cxnSpLocks/>
          </p:cNvCxnSpPr>
          <p:nvPr userDrawn="1"/>
        </p:nvCxnSpPr>
        <p:spPr>
          <a:xfrm>
            <a:off x="2738168" y="2187554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EBE62145-C6F1-DD41-953C-FEDE5899126A}"/>
              </a:ext>
            </a:extLst>
          </p:cNvPr>
          <p:cNvSpPr txBox="1">
            <a:spLocks/>
          </p:cNvSpPr>
          <p:nvPr userDrawn="1"/>
        </p:nvSpPr>
        <p:spPr>
          <a:xfrm>
            <a:off x="412395" y="4716383"/>
            <a:ext cx="498226" cy="932574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500" b="1" kern="1200">
                <a:solidFill>
                  <a:srgbClr val="002677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851" b="0" i="0" dirty="0">
              <a:solidFill>
                <a:srgbClr val="73BFFF"/>
              </a:solidFill>
              <a:latin typeface="IBM Eliot Sans Medium" panose="020B0703050000000000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5485095" y="2170166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225538" y="2128180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31AA5DA-4C98-CD4C-BD82-BFADF2AA8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81606218-C785-CE4E-9E24-2F2029B69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F7A6862-765C-774A-B229-13D1652D14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7"/>
            <a:ext cx="4355502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5757D10-F62F-4740-B9A7-A48353969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F03B161-7BA1-2F4B-AE38-205D5A420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A03C70C-3C27-4640-9452-11619D59B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CE675BB-4ECC-A44C-8B18-9AAA1966A3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DDDD741-B28C-C44C-B72E-4BB6314DCC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0DAB2C6-4974-DE4D-BEB1-6C2F305BFD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9125A92-6D79-104E-99F9-9A81371C1D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0D5A265-D3C0-4143-B509-8F19D16791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D71A2BD7-A04D-D74D-8969-D3A70A8815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346B2C6-55F3-F743-A910-5D70D9F4CB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8751F895-446E-B74F-836C-BD9C179DC6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DE878C6-0442-DC4D-9096-E8825B38CC0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10E830AD-B157-6E41-B1CC-07B3AE7824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C401C74-0372-DF4B-8B59-42DDBED2BE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9FC9668-2DD8-A94F-A954-E37D86C3A6B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0DD6D32-1F14-104B-A68A-F649E5E2399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047349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CB95045-5EFA-FD48-96A2-86695AE602C6}"/>
              </a:ext>
            </a:extLst>
          </p:cNvPr>
          <p:cNvSpPr/>
          <p:nvPr userDrawn="1"/>
        </p:nvSpPr>
        <p:spPr>
          <a:xfrm>
            <a:off x="7324343" y="2285998"/>
            <a:ext cx="3662172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E60E0A-C2F3-E648-889E-E2559A21D98E}"/>
              </a:ext>
            </a:extLst>
          </p:cNvPr>
          <p:cNvSpPr/>
          <p:nvPr userDrawn="1"/>
        </p:nvSpPr>
        <p:spPr>
          <a:xfrm>
            <a:off x="3662171" y="2285998"/>
            <a:ext cx="3662172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4D0728-043B-8E46-B4F5-BF5D9993809A}"/>
              </a:ext>
            </a:extLst>
          </p:cNvPr>
          <p:cNvSpPr/>
          <p:nvPr userDrawn="1"/>
        </p:nvSpPr>
        <p:spPr>
          <a:xfrm>
            <a:off x="-1" y="2286000"/>
            <a:ext cx="3662172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64812A-2556-C641-A251-A50CE98C573F}"/>
              </a:ext>
            </a:extLst>
          </p:cNvPr>
          <p:cNvCxnSpPr/>
          <p:nvPr userDrawn="1"/>
        </p:nvCxnSpPr>
        <p:spPr>
          <a:xfrm>
            <a:off x="3660081" y="2103120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E3ADC4-BBD0-F642-9C8F-99BFD6B59B65}"/>
              </a:ext>
            </a:extLst>
          </p:cNvPr>
          <p:cNvCxnSpPr/>
          <p:nvPr userDrawn="1"/>
        </p:nvCxnSpPr>
        <p:spPr>
          <a:xfrm>
            <a:off x="7324343" y="2194924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5BCC073-AE51-D345-AEB5-1BFF0D01F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969B57E-C4AA-1C4C-9D96-8EB1CE29C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8BB7DD6-A719-8740-A2D8-C776C5E6B6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EFFFC6E-882C-7C46-B189-2B2DB7B483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7C11F3C-52FB-1C4F-9EF3-27FF3841B6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66670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641664A-B770-234A-AE28-DFBA24D59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24270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9E8A2B3-D988-CE4D-9053-B6B9A5E2A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237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DBFCC85-7F6B-DD48-A664-DFD5053951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71687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9870FD0-57D9-1349-9542-8298039A8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18898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68975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02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1CA15B-0DC0-FA49-85C2-FA530C8F30B5}"/>
              </a:ext>
            </a:extLst>
          </p:cNvPr>
          <p:cNvSpPr/>
          <p:nvPr userDrawn="1"/>
        </p:nvSpPr>
        <p:spPr>
          <a:xfrm>
            <a:off x="7" y="2286000"/>
            <a:ext cx="2740457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16500F-B1A9-4645-882F-C86D370553D8}"/>
              </a:ext>
            </a:extLst>
          </p:cNvPr>
          <p:cNvSpPr/>
          <p:nvPr userDrawn="1"/>
        </p:nvSpPr>
        <p:spPr>
          <a:xfrm>
            <a:off x="2736371" y="2285998"/>
            <a:ext cx="2740457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448808-F38D-0243-B81C-1B75E52611FF}"/>
              </a:ext>
            </a:extLst>
          </p:cNvPr>
          <p:cNvSpPr/>
          <p:nvPr userDrawn="1"/>
        </p:nvSpPr>
        <p:spPr>
          <a:xfrm>
            <a:off x="5472734" y="2285998"/>
            <a:ext cx="2740457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rgbClr val="73C0FF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25F0D-9D79-944D-98C3-79128E3BF0BA}"/>
              </a:ext>
            </a:extLst>
          </p:cNvPr>
          <p:cNvSpPr/>
          <p:nvPr userDrawn="1"/>
        </p:nvSpPr>
        <p:spPr>
          <a:xfrm>
            <a:off x="8217615" y="2285998"/>
            <a:ext cx="2758001" cy="5029202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FF31F-07CC-8D41-8031-CFAEFCE4A73B}"/>
              </a:ext>
            </a:extLst>
          </p:cNvPr>
          <p:cNvCxnSpPr/>
          <p:nvPr userDrawn="1"/>
        </p:nvCxnSpPr>
        <p:spPr>
          <a:xfrm>
            <a:off x="2736364" y="2206659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C9DC4D7-1B1E-174C-940D-A3793C843D01}"/>
              </a:ext>
            </a:extLst>
          </p:cNvPr>
          <p:cNvCxnSpPr/>
          <p:nvPr userDrawn="1"/>
        </p:nvCxnSpPr>
        <p:spPr>
          <a:xfrm>
            <a:off x="5465474" y="2181945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93BB7E-F5F2-E649-8033-7166E90A7207}"/>
              </a:ext>
            </a:extLst>
          </p:cNvPr>
          <p:cNvCxnSpPr/>
          <p:nvPr userDrawn="1"/>
        </p:nvCxnSpPr>
        <p:spPr>
          <a:xfrm>
            <a:off x="8213184" y="2194302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80002C4-0FB2-5844-A675-D6F402F57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1DD1F092-6564-A645-82F4-978A0E34CD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D7F8090-242A-7D45-B018-EC8BB81EF6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739A91B-ECAC-694E-B1D4-B08743F7A7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3DFE6B0-7DF2-6642-83E1-66F1093474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5442459-8373-1A41-9688-B9B8082602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9672854A-915C-CB40-9798-89F42D35DA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6F2C4F87-A008-5845-BCBD-D3097A7558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7108E50-1C2C-2B4B-B315-85FB3DD1EC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77F7913-4904-164E-A7C4-69D8433AC5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2501913-11BF-844A-B7B0-1D42A71BA73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0732030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69D7DFC-1099-1746-ADF1-909D42C622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9717" y="438055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B2AEFFC-36FA-DA45-A980-62BC975A31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36617" y="431037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7ED6AFB-6FB3-7440-B489-CD200AE6B5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7022" y="779468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AD82C669-BFF4-6441-97EE-76036B5AF2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19423A1B-70A4-DD45-AAD3-7E09BE267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7C9121C-114C-8E45-9D47-399B0C5BB6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3276887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23F73415-9424-3D41-A915-14E74B5412F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29717" y="1380807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69942FB6-6C4B-064F-BF72-3F67107FB22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36617" y="1373789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7F34662-6718-2A41-8BC8-656955C1FC1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137022" y="1722220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70C7F770-653E-3F47-A963-EF00C7F66CC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29717" y="22952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35B71456-1F90-CE4C-8A7A-405D94297A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36617" y="22881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E110D69C-A7B6-414D-891C-B12C8362C72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37022" y="26366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012600EF-A3C0-5647-A4EB-A23FD379EE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29717" y="32096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980B827E-5D10-9045-BE57-3772946E7C4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36617" y="32025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4BE11A2A-277C-E34C-8080-87DA1081A60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37022" y="35510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7B3A6ACA-6A51-F645-B1A7-96BB7D8341F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222508" y="438055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C4C6F39D-F727-CD41-BED3-131081D6B7D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29406" y="431037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11C0F3E5-4856-1A4C-AD0F-2B7CE8CDCE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629811" y="779468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FA849705-29FD-8844-A337-F6FCDE660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22508" y="1380807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C7B581DD-DB5E-FB4C-9686-8E0549A0EB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29406" y="1373789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781964BB-5C6D-9341-93A4-69C3AAEB50B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629811" y="1722220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B8043DE7-2CDB-FF48-BF5C-CD5CB27E6E3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22508" y="22952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45242C1D-7379-A143-A0AF-BF2180C465D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9406" y="22881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76F0D62-7A00-0448-8018-B623ECFCF6A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629811" y="26366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7" name="Text Placeholder 6">
            <a:extLst>
              <a:ext uri="{FF2B5EF4-FFF2-40B4-BE49-F238E27FC236}">
                <a16:creationId xmlns:a16="http://schemas.microsoft.com/office/drawing/2014/main" id="{6FD7C259-F4F1-294E-B3F4-5E5936D320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22508" y="32096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3B66F0FC-35F5-854C-9559-A2664673A09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29406" y="32025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9" name="Text Placeholder 4">
            <a:extLst>
              <a:ext uri="{FF2B5EF4-FFF2-40B4-BE49-F238E27FC236}">
                <a16:creationId xmlns:a16="http://schemas.microsoft.com/office/drawing/2014/main" id="{57EB4E2C-A33F-A946-B3FB-7704F3B71E7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629811" y="35510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1852688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6" userDrawn="1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19B78F-2807-5245-98EE-F6A82E1A2F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496" y="8574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4633B1D-AC27-E94D-AA0E-9F5B3708B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50415E8B-755D-B841-826D-006A9869D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A47CD7A-DCEA-9B4A-A306-119FACB2F4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3CD94B0-BCE2-B54F-B93A-64383F7B9C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9496" y="22290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B1765562-A1E1-F14A-9E08-7D21F2BC5B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496" y="36006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4904B6E2-3755-BA49-B34E-50B16EA2E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496" y="49722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1EEA9482-D32A-1F40-AF1B-6D81BD7A7F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496" y="63438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DB85DB-1B52-0941-93F1-D829144517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2588" y="662798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34A170DD-EBEC-224A-B549-967955987D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2588" y="20447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3A43B0B-CA3B-544A-BB07-1F0E6C9B8F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2588" y="3426780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3530151-C1A5-6E4C-AA66-AC4690EF69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588" y="47879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EACE6F3-1318-A245-AD4A-807A31CB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2588" y="61595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1108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32" userDrawn="1">
          <p15:clr>
            <a:srgbClr val="FBAE40"/>
          </p15:clr>
        </p15:guide>
        <p15:guide id="2" pos="4698" userDrawn="1">
          <p15:clr>
            <a:srgbClr val="FBAE40"/>
          </p15:clr>
        </p15:guide>
        <p15:guide id="3" orient="horz" pos="528" userDrawn="1">
          <p15:clr>
            <a:srgbClr val="FBAE40"/>
          </p15:clr>
        </p15:guide>
        <p15:guide id="10" orient="horz" pos="960" userDrawn="1">
          <p15:clr>
            <a:srgbClr val="FBAE40"/>
          </p15:clr>
        </p15:guide>
        <p15:guide id="11" orient="horz" pos="1824" userDrawn="1">
          <p15:clr>
            <a:srgbClr val="FBAE40"/>
          </p15:clr>
        </p15:guide>
        <p15:guide id="12" orient="horz" pos="1392" userDrawn="1">
          <p15:clr>
            <a:srgbClr val="FBAE40"/>
          </p15:clr>
        </p15:guide>
        <p15:guide id="13" orient="horz" pos="2256" userDrawn="1">
          <p15:clr>
            <a:srgbClr val="FBAE40"/>
          </p15:clr>
        </p15:guide>
        <p15:guide id="14" orient="horz" pos="2688" userDrawn="1">
          <p15:clr>
            <a:srgbClr val="FBAE40"/>
          </p15:clr>
        </p15:guide>
        <p15:guide id="15" orient="horz" pos="3120" userDrawn="1">
          <p15:clr>
            <a:srgbClr val="FBAE40"/>
          </p15:clr>
        </p15:guide>
        <p15:guide id="16" orient="horz" pos="3552" userDrawn="1">
          <p15:clr>
            <a:srgbClr val="FBAE40"/>
          </p15:clr>
        </p15:guide>
        <p15:guide id="17" orient="horz" pos="3984" userDrawn="1">
          <p15:clr>
            <a:srgbClr val="FBAE40"/>
          </p15:clr>
        </p15:guide>
        <p15:guide id="18" orient="horz" pos="4416" userDrawn="1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8EAB05D-6023-6446-871F-F643EB21D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70254" y="8121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F8DC07FD-97E5-F849-914D-DDA379D30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758084B5-043A-364E-9017-9761E1269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27CA6C2-022E-7940-AB20-7F6D6EBEE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FBF50EC3-1DAF-2A41-A49D-6ECDAE7789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0254" y="21837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35A0945B-E76F-EC46-BB22-719D229440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0254" y="3591952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4EFCA974-995E-834E-B32B-39B4D905F2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70254" y="49269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71B36F53-D480-034F-900B-A3132AEAA1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0254" y="62985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881FD484-AB12-C645-92DC-2AEC6A14E5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5720" y="8121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0" name="Text Placeholder 4">
            <a:extLst>
              <a:ext uri="{FF2B5EF4-FFF2-40B4-BE49-F238E27FC236}">
                <a16:creationId xmlns:a16="http://schemas.microsoft.com/office/drawing/2014/main" id="{925247B1-5841-8B47-ABB6-E3A3383F8F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55720" y="21837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3CB13209-88F5-E745-9B33-164E9BB2CA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5720" y="3591952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26C66067-50E5-9843-A3EA-12D8A95E04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55720" y="49269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AFFEDDAB-BD3E-FD47-8C4A-ED8CB817DF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55720" y="62985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D0290E-155D-E042-8C37-BFE5C31CF3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2313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03850412-D5BD-1548-B6F8-95D26F3D2B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2313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37D55A63-6236-BE40-ABFF-90BF50E865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2313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7478E59C-481E-784F-8481-4C406642D3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2313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F49F66D-3EB4-C649-AA52-C1CE55D9E2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02313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77AFEA5E-3A24-F547-A539-252800FA175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9502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61404EC6-6819-F741-BB8E-B3A4BC3933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02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C89586CB-F15A-1F4A-9185-9AC4D760D9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9502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CBF71C3F-9226-064A-8CCD-B2F930C7F1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29502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94A6A3D4-EDAB-5D4D-9BD5-77EDF50FBB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29502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552871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504" userDrawn="1">
          <p15:clr>
            <a:srgbClr val="FBAE40"/>
          </p15:clr>
        </p15:guide>
        <p15:guide id="14" orient="horz" pos="1368" userDrawn="1">
          <p15:clr>
            <a:srgbClr val="FBAE40"/>
          </p15:clr>
        </p15:guide>
        <p15:guide id="16" orient="horz" pos="3000" userDrawn="1">
          <p15:clr>
            <a:srgbClr val="FBAE40"/>
          </p15:clr>
        </p15:guide>
        <p15:guide id="17" orient="horz" pos="3864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233E17E-5377-C24C-AD2C-39BA429667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75213" y="26841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9E43623-1ADA-7C4F-923F-B58B9AC621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75615" y="30724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394B72A7-E3E8-CC4B-816F-2A1593643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6803EFAD-4A5C-C948-9D16-079F72932A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EEC7578-AE97-504B-991A-7FA2939B95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Next Step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42DD4E-0A20-B240-8C4D-8BCDA14E68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2852" y="26841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24234E21-09D7-5244-A79E-3EF2C41AF6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61363" y="26841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3B433C64-5662-864A-870D-E0F2479AA8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1765" y="30724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C5D9B63E-206A-3A42-ABB9-F04E60D4BA4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39002" y="26841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136B03FB-33C3-BF4C-BD6F-3A81C31A82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75213" y="45129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DDC4BDDB-4701-C141-9543-D26BEB144D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75615" y="49012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1173C913-F578-7342-9BC9-2B905AF7CD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2852" y="45129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55DE7C74-C751-4E43-9361-A930663D3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89469" y="45129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786A57D-7605-784A-AC6B-BF9BEFC55E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89871" y="49012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09B95635-2B14-0347-8AF2-D0FAD5D48F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39002" y="45129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1F9206FB-46D1-C640-8F1C-714F8758E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5213" y="63417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E6731DF6-8C41-D241-A94C-ADA9924643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75615" y="67300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A9B41717-A488-8A47-9468-F9BCDA4DA76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52852" y="63417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6F3697DF-F2C0-B74B-8B8E-F5F04C77CE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61363" y="63417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10208B9-EBAF-024B-BDBD-B821C46A56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61765" y="67300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54CB2744-2AEB-A64E-A434-B328B74315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39002" y="63417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607604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8" userDrawn="1">
          <p15:clr>
            <a:srgbClr val="FBAE40"/>
          </p15:clr>
        </p15:guide>
        <p15:guide id="2" orient="horz" pos="2760" userDrawn="1">
          <p15:clr>
            <a:srgbClr val="FBAE40"/>
          </p15:clr>
        </p15:guide>
        <p15:guide id="3" orient="horz" pos="391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19B78F-2807-5245-98EE-F6A82E1A2F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496" y="8574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4633B1D-AC27-E94D-AA0E-9F5B3708B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50415E8B-755D-B841-826D-006A9869D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A47CD7A-DCEA-9B4A-A306-119FACB2F4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3CD94B0-BCE2-B54F-B93A-64383F7B9C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9496" y="22290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B1765562-A1E1-F14A-9E08-7D21F2BC5B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496" y="36006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4904B6E2-3755-BA49-B34E-50B16EA2E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496" y="49722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1EEA9482-D32A-1F40-AF1B-6D81BD7A7F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496" y="63438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DB85DB-1B52-0941-93F1-D829144517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2588" y="662798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34A170DD-EBEC-224A-B549-967955987D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2588" y="20447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3A43B0B-CA3B-544A-BB07-1F0E6C9B8F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2588" y="3426780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3530151-C1A5-6E4C-AA66-AC4690EF69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588" y="47879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EACE6F3-1318-A245-AD4A-807A31CB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2588" y="61595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803117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32" userDrawn="1">
          <p15:clr>
            <a:srgbClr val="FBAE40"/>
          </p15:clr>
        </p15:guide>
        <p15:guide id="2" pos="4698" userDrawn="1">
          <p15:clr>
            <a:srgbClr val="FBAE40"/>
          </p15:clr>
        </p15:guide>
        <p15:guide id="3" orient="horz" pos="528" userDrawn="1">
          <p15:clr>
            <a:srgbClr val="FBAE40"/>
          </p15:clr>
        </p15:guide>
        <p15:guide id="10" orient="horz" pos="960" userDrawn="1">
          <p15:clr>
            <a:srgbClr val="FBAE40"/>
          </p15:clr>
        </p15:guide>
        <p15:guide id="11" orient="horz" pos="1824" userDrawn="1">
          <p15:clr>
            <a:srgbClr val="FBAE40"/>
          </p15:clr>
        </p15:guide>
        <p15:guide id="12" orient="horz" pos="1392" userDrawn="1">
          <p15:clr>
            <a:srgbClr val="FBAE40"/>
          </p15:clr>
        </p15:guide>
        <p15:guide id="13" orient="horz" pos="2256" userDrawn="1">
          <p15:clr>
            <a:srgbClr val="FBAE40"/>
          </p15:clr>
        </p15:guide>
        <p15:guide id="14" orient="horz" pos="2688" userDrawn="1">
          <p15:clr>
            <a:srgbClr val="FBAE40"/>
          </p15:clr>
        </p15:guide>
        <p15:guide id="15" orient="horz" pos="3120" userDrawn="1">
          <p15:clr>
            <a:srgbClr val="FBAE40"/>
          </p15:clr>
        </p15:guide>
        <p15:guide id="16" orient="horz" pos="3552" userDrawn="1">
          <p15:clr>
            <a:srgbClr val="FBAE40"/>
          </p15:clr>
        </p15:guide>
        <p15:guide id="17" orient="horz" pos="3984" userDrawn="1">
          <p15:clr>
            <a:srgbClr val="FBAE40"/>
          </p15:clr>
        </p15:guide>
        <p15:guide id="18" orient="horz" pos="4416" userDrawn="1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49F6C18-672B-6D42-AB0F-130596F63B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228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AE060BD-0D8D-AC48-B242-3D34AEB41A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338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E65A059-C9EF-5943-BA43-199F504186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741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959E8D8-29F1-5349-9971-B3AA686A06A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85694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1C7E403-B04F-3848-AA7A-F9B6DFE9E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4E65AF74-1A2C-7942-BD65-558510A5D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FC0581F5-3E5A-DA48-881F-B8EFB4BB92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Next Step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965E4C8F-20DC-F14A-B44E-3F7E87F1F1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71228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DC419921-BA25-2B4A-9CB5-A793190FC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6338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1D1A00A-B705-8E43-8323-117F0DB240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6741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2D523B49-04C1-A14E-A925-C8DD012D948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1228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EE1E5A43-18B8-1C49-9497-4F8D82728F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26338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456B82D8-A834-8946-B02E-1F7D9A55D72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26741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1" name="Text Placeholder 6">
            <a:extLst>
              <a:ext uri="{FF2B5EF4-FFF2-40B4-BE49-F238E27FC236}">
                <a16:creationId xmlns:a16="http://schemas.microsoft.com/office/drawing/2014/main" id="{56DA5C01-615A-3643-BC66-AE15D94EDC1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39663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25CCAAA3-6015-3F4B-B023-B81444EFE0A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884835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A5E5A7AE-63E1-784A-87DD-1DE0312E4F9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85237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6809CFD5-9BE2-8045-BD0C-E698D422FFE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744190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C8957327-30F9-B749-8498-2440755D3C5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39663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86D19F5B-2AB4-D249-BE7E-FD771DA3201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884835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F4EB2C70-48DD-D944-B694-9F7B7CD69C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85237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64897C1A-999F-9D4B-A596-4F9CAACDD00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39663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8D397C40-4DC5-4445-B464-53C3CB07C93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884835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113D492-3C03-3645-A76F-9EEF73E411B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85237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D2FC71B6-5562-404E-B4B3-00BEDAA72A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125090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0DB6E01-C880-7341-8958-191BE9B1D83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380202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A5643017-2779-164D-98A0-86FBA4A1A74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80605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0BDBF304-9ADB-074D-AFB5-3D74DEF9947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239559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9444EB5-1948-0849-9BC7-58738B23599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125090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8BCF6EE2-7E27-6E45-AF82-5B17571C46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80202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15770356-D330-744A-90AC-0ACD21FF99F1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380605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101" name="Text Placeholder 6">
            <a:extLst>
              <a:ext uri="{FF2B5EF4-FFF2-40B4-BE49-F238E27FC236}">
                <a16:creationId xmlns:a16="http://schemas.microsoft.com/office/drawing/2014/main" id="{397FDE7A-50BE-F845-B7E5-28121B8F2C2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125090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02" name="Text Placeholder 4">
            <a:extLst>
              <a:ext uri="{FF2B5EF4-FFF2-40B4-BE49-F238E27FC236}">
                <a16:creationId xmlns:a16="http://schemas.microsoft.com/office/drawing/2014/main" id="{A60858A7-F957-354C-A57C-6D17B5A8F2D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380202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AA3D5DC1-FBB5-9342-A859-51F4F92639D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380605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2758463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orient="horz" pos="1920" userDrawn="1">
          <p15:clr>
            <a:srgbClr val="FBAE40"/>
          </p15:clr>
        </p15:guide>
        <p15:guide id="3" orient="horz" pos="2304" userDrawn="1">
          <p15:clr>
            <a:srgbClr val="FBAE40"/>
          </p15:clr>
        </p15:guide>
        <p15:guide id="4" orient="horz" pos="2784" userDrawn="1">
          <p15:clr>
            <a:srgbClr val="FBAE40"/>
          </p15:clr>
        </p15:guide>
        <p15:guide id="5" orient="horz" pos="3264" userDrawn="1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04949F9-5C16-D948-BC73-F6925A668F95}"/>
              </a:ext>
            </a:extLst>
          </p:cNvPr>
          <p:cNvCxnSpPr>
            <a:cxnSpLocks/>
          </p:cNvCxnSpPr>
          <p:nvPr userDrawn="1"/>
        </p:nvCxnSpPr>
        <p:spPr>
          <a:xfrm flipV="1">
            <a:off x="475112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06D1E39-48CB-8244-A02E-DAF14DEB8FC0}"/>
              </a:ext>
            </a:extLst>
          </p:cNvPr>
          <p:cNvCxnSpPr>
            <a:cxnSpLocks/>
          </p:cNvCxnSpPr>
          <p:nvPr userDrawn="1"/>
        </p:nvCxnSpPr>
        <p:spPr>
          <a:xfrm flipV="1">
            <a:off x="742379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1E1E964-BB35-C14B-A64D-4257241E81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989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0BFFCA26-434C-CE4E-A257-6806FE4B47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053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1C953F-B03B-6646-AB55-F7BF6F3A3264}"/>
              </a:ext>
            </a:extLst>
          </p:cNvPr>
          <p:cNvSpPr/>
          <p:nvPr userDrawn="1"/>
        </p:nvSpPr>
        <p:spPr>
          <a:xfrm>
            <a:off x="342902" y="3770771"/>
            <a:ext cx="10302057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26B1D1D-E92C-1D4B-ACAF-EB15342A29BC}"/>
              </a:ext>
            </a:extLst>
          </p:cNvPr>
          <p:cNvSpPr>
            <a:spLocks noChangeAspect="1"/>
          </p:cNvSpPr>
          <p:nvPr userDrawn="1"/>
        </p:nvSpPr>
        <p:spPr>
          <a:xfrm>
            <a:off x="380628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8C676B9-4875-244A-8656-0AEF21A85369}"/>
              </a:ext>
            </a:extLst>
          </p:cNvPr>
          <p:cNvCxnSpPr>
            <a:cxnSpLocks/>
          </p:cNvCxnSpPr>
          <p:nvPr userDrawn="1"/>
        </p:nvCxnSpPr>
        <p:spPr>
          <a:xfrm flipV="1">
            <a:off x="192286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0992D0-9D94-FE43-9FF9-C15BA40AC4E1}"/>
              </a:ext>
            </a:extLst>
          </p:cNvPr>
          <p:cNvCxnSpPr>
            <a:cxnSpLocks/>
          </p:cNvCxnSpPr>
          <p:nvPr userDrawn="1"/>
        </p:nvCxnSpPr>
        <p:spPr>
          <a:xfrm flipH="1">
            <a:off x="488581" y="4052776"/>
            <a:ext cx="3155" cy="671624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AA4926A-FE88-5343-9825-033975560D10}"/>
              </a:ext>
            </a:extLst>
          </p:cNvPr>
          <p:cNvCxnSpPr>
            <a:cxnSpLocks/>
          </p:cNvCxnSpPr>
          <p:nvPr userDrawn="1"/>
        </p:nvCxnSpPr>
        <p:spPr>
          <a:xfrm flipH="1">
            <a:off x="3309340" y="4052776"/>
            <a:ext cx="2810" cy="671624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A5B14E9-673D-8748-8CBB-1D150B6054D1}"/>
              </a:ext>
            </a:extLst>
          </p:cNvPr>
          <p:cNvCxnSpPr>
            <a:cxnSpLocks/>
          </p:cNvCxnSpPr>
          <p:nvPr userDrawn="1"/>
        </p:nvCxnSpPr>
        <p:spPr>
          <a:xfrm>
            <a:off x="6175886" y="3898610"/>
            <a:ext cx="0" cy="82579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026C9E-393D-004E-8ABE-7B5F64C3B378}"/>
              </a:ext>
            </a:extLst>
          </p:cNvPr>
          <p:cNvCxnSpPr>
            <a:cxnSpLocks/>
          </p:cNvCxnSpPr>
          <p:nvPr userDrawn="1"/>
        </p:nvCxnSpPr>
        <p:spPr>
          <a:xfrm>
            <a:off x="8729275" y="3898610"/>
            <a:ext cx="0" cy="82579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F876BA71-DB75-D143-9D78-E4418F55A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F3414ABB-41DD-C349-9DD9-A378E75F15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A0AD528-8BA5-4745-83BE-4E8596B126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EDA40E52-AB06-4443-80A9-C39069B6BB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727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FABF79A3-EBA3-A242-A87F-1CDB425F10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80791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E5A97EB3-CB01-9B47-93D7-7E36048049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4341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A95A14F7-38FE-8543-8DB1-37012A6014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87408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CEFF965D-181D-F644-AFEE-6980A9931E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3756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042AF19-B4A7-FB4C-A07D-68BB76B2F4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6823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CBFC5376-560E-D041-BD45-F5ADBFD1A2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44555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5CA867F4-5F30-9744-AB97-BB45337E5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7622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E88768E5-50B0-CA4E-BC1C-329BBA48E3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3852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4A5C5E22-88C9-5548-8A7D-64A398F4A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46919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FD9B511B-820B-D044-BD30-96B0BC717A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76189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580CCF4D-777C-E94B-8FCB-750BEEE760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99256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71D9E360-840C-C14E-9E34-91B52C55EB8E}"/>
              </a:ext>
            </a:extLst>
          </p:cNvPr>
          <p:cNvSpPr>
            <a:spLocks noChangeAspect="1"/>
          </p:cNvSpPr>
          <p:nvPr userDrawn="1"/>
        </p:nvSpPr>
        <p:spPr>
          <a:xfrm>
            <a:off x="181333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D190410-9AAD-414A-9592-A1812AA459ED}"/>
              </a:ext>
            </a:extLst>
          </p:cNvPr>
          <p:cNvSpPr>
            <a:spLocks noChangeAspect="1"/>
          </p:cNvSpPr>
          <p:nvPr userDrawn="1"/>
        </p:nvSpPr>
        <p:spPr>
          <a:xfrm>
            <a:off x="3201216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7F85F4E-C6D0-054E-B77C-C539A61F98F8}"/>
              </a:ext>
            </a:extLst>
          </p:cNvPr>
          <p:cNvSpPr>
            <a:spLocks noChangeAspect="1"/>
          </p:cNvSpPr>
          <p:nvPr userDrawn="1"/>
        </p:nvSpPr>
        <p:spPr>
          <a:xfrm>
            <a:off x="464159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12AEBB64-3484-1C41-A0D9-3B06C5A2E958}"/>
              </a:ext>
            </a:extLst>
          </p:cNvPr>
          <p:cNvSpPr>
            <a:spLocks noChangeAspect="1"/>
          </p:cNvSpPr>
          <p:nvPr userDrawn="1"/>
        </p:nvSpPr>
        <p:spPr>
          <a:xfrm>
            <a:off x="6066357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14D986E9-B2C4-9842-80E7-2623847DED17}"/>
              </a:ext>
            </a:extLst>
          </p:cNvPr>
          <p:cNvSpPr>
            <a:spLocks noChangeAspect="1"/>
          </p:cNvSpPr>
          <p:nvPr userDrawn="1"/>
        </p:nvSpPr>
        <p:spPr>
          <a:xfrm>
            <a:off x="731426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B385FB9-DF96-5F48-A3C0-6D2C693FE84F}"/>
              </a:ext>
            </a:extLst>
          </p:cNvPr>
          <p:cNvSpPr>
            <a:spLocks noChangeAspect="1"/>
          </p:cNvSpPr>
          <p:nvPr userDrawn="1"/>
        </p:nvSpPr>
        <p:spPr>
          <a:xfrm>
            <a:off x="8619747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5793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728" userDrawn="1">
          <p15:clr>
            <a:srgbClr val="FBAE40"/>
          </p15:clr>
        </p15:guide>
        <p15:guide id="5" orient="horz" pos="3360" userDrawn="1">
          <p15:clr>
            <a:srgbClr val="FBAE40"/>
          </p15:clr>
        </p15:guide>
        <p15:guide id="6" orient="horz" pos="3096" userDrawn="1">
          <p15:clr>
            <a:srgbClr val="FBAE40"/>
          </p15:clr>
        </p15:guide>
        <p15:guide id="7" pos="1206" userDrawn="1">
          <p15:clr>
            <a:srgbClr val="FBAE40"/>
          </p15:clr>
        </p15:guide>
        <p15:guide id="8" pos="2088" userDrawn="1">
          <p15:clr>
            <a:srgbClr val="FBAE40"/>
          </p15:clr>
        </p15:guide>
        <p15:guide id="9" pos="2988" userDrawn="1">
          <p15:clr>
            <a:srgbClr val="FBAE40"/>
          </p15:clr>
        </p15:guide>
        <p15:guide id="10" pos="306" userDrawn="1">
          <p15:clr>
            <a:srgbClr val="FBAE40"/>
          </p15:clr>
        </p15:guide>
        <p15:guide id="11" pos="3888" userDrawn="1">
          <p15:clr>
            <a:srgbClr val="FBAE40"/>
          </p15:clr>
        </p15:guide>
        <p15:guide id="12" pos="4770" userDrawn="1">
          <p15:clr>
            <a:srgbClr val="FBAE40"/>
          </p15:clr>
        </p15:guide>
        <p15:guide id="13" orient="horz" pos="2376" userDrawn="1">
          <p15:clr>
            <a:srgbClr val="FBAE40"/>
          </p15:clr>
        </p15:guide>
        <p15:guide id="14" orient="horz" pos="1920" userDrawn="1">
          <p15:clr>
            <a:srgbClr val="FBAE40"/>
          </p15:clr>
        </p15:guide>
        <p15:guide id="15" orient="horz" pos="3000" userDrawn="1">
          <p15:clr>
            <a:srgbClr val="FBAE40"/>
          </p15:clr>
        </p15:guide>
        <p15:guide id="17" pos="5670" userDrawn="1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4B62D430-3622-F944-8030-6A8F1702A9AA}"/>
              </a:ext>
            </a:extLst>
          </p:cNvPr>
          <p:cNvSpPr/>
          <p:nvPr userDrawn="1"/>
        </p:nvSpPr>
        <p:spPr>
          <a:xfrm>
            <a:off x="342902" y="3772557"/>
            <a:ext cx="10302057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66E90B9-8C95-6343-825C-E62C17A912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5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2F36EC5D-3297-5A42-828A-45B71BD1AF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54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A6340B-A70E-6F40-BE52-184289247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55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6C1D83D-A1B9-DE45-8FA3-F7858C2331AD}"/>
              </a:ext>
            </a:extLst>
          </p:cNvPr>
          <p:cNvGrpSpPr/>
          <p:nvPr userDrawn="1"/>
        </p:nvGrpSpPr>
        <p:grpSpPr>
          <a:xfrm>
            <a:off x="2941690" y="3742365"/>
            <a:ext cx="129092" cy="332320"/>
            <a:chOff x="3237268" y="2942083"/>
            <a:chExt cx="192553" cy="371766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3CF5AED-830E-1048-8ACE-5F69D17C6FEB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F813389-9B03-514C-AE4E-465F459D64E9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BEA43C26-B1EF-6648-9CC6-CFB1FA869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329031D6-4137-624A-BE65-3322D8DA9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C2414C1-54C0-C94B-9BC0-67C132C49A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54A16AA9-D999-6340-B30C-C3FF62A850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03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CC22A516-DCEB-E14E-A7DC-5023D339FB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034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BF80794-4F55-3D45-80B7-D1BBC0FAE2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035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05576ED1-0F9A-C64C-9C33-80A46C39B4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019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B62556C-5980-2147-816C-750E70BD0B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019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552DAF1-DF41-5A48-97D1-23DF191BA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8020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273E1958-B8AA-5346-8CD5-CB0E6A3D65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23372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3C3ABA36-8BC4-F84B-BA4A-7B8469D974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372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7146BB8-C634-B04A-A59D-E158C3D07A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23381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D94545F-B896-DA4A-9C9E-67D1A40FFFB8}"/>
              </a:ext>
            </a:extLst>
          </p:cNvPr>
          <p:cNvGrpSpPr/>
          <p:nvPr userDrawn="1"/>
        </p:nvGrpSpPr>
        <p:grpSpPr>
          <a:xfrm>
            <a:off x="5546197" y="3742365"/>
            <a:ext cx="129092" cy="332320"/>
            <a:chOff x="3237268" y="2942083"/>
            <a:chExt cx="192553" cy="371766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CE0664B-4083-3E4F-859C-FA8AB2062871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0213AF2-CE79-F14F-9B5F-30325124201A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1D054C1-A28A-6C40-8DA9-AF4BD32A9B4B}"/>
              </a:ext>
            </a:extLst>
          </p:cNvPr>
          <p:cNvGrpSpPr/>
          <p:nvPr userDrawn="1"/>
        </p:nvGrpSpPr>
        <p:grpSpPr>
          <a:xfrm>
            <a:off x="8074504" y="3742365"/>
            <a:ext cx="129092" cy="332320"/>
            <a:chOff x="3237268" y="2942083"/>
            <a:chExt cx="192553" cy="371766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C317751-A226-4B4F-964E-EA37D4EF133D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B42E7E1-2968-604F-8D00-DA7500C3B365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990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  <p15:guide id="2" orient="horz" pos="3000" userDrawn="1">
          <p15:clr>
            <a:srgbClr val="FBAE40"/>
          </p15:clr>
        </p15:guide>
        <p15:guide id="3" pos="1854" userDrawn="1">
          <p15:clr>
            <a:srgbClr val="FBAE40"/>
          </p15:clr>
        </p15:guide>
        <p15:guide id="4" pos="3492" userDrawn="1">
          <p15:clr>
            <a:srgbClr val="FBAE40"/>
          </p15:clr>
        </p15:guide>
        <p15:guide id="5" pos="5094" userDrawn="1">
          <p15:clr>
            <a:srgbClr val="FBAE40"/>
          </p15:clr>
        </p15:guide>
        <p15:guide id="6" orient="horz" pos="2592" userDrawn="1">
          <p15:clr>
            <a:srgbClr val="FBAE40"/>
          </p15:clr>
        </p15:guide>
        <p15:guide id="7" orient="horz" pos="3288" userDrawn="1">
          <p15:clr>
            <a:srgbClr val="FBAE40"/>
          </p15:clr>
        </p15:guide>
        <p15:guide id="8" orient="horz" pos="3456" userDrawn="1">
          <p15:clr>
            <a:srgbClr val="FBAE40"/>
          </p15:clr>
        </p15:guide>
        <p15:guide id="9" orient="horz" pos="2448" userDrawn="1">
          <p15:clr>
            <a:srgbClr val="FBAE40"/>
          </p15:clr>
        </p15:guide>
        <p15:guide id="10" orient="horz" pos="2472" userDrawn="1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slide_WT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10360E9-0E7D-2342-86B3-B6103E5F4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69861" y="2219018"/>
            <a:ext cx="3844898" cy="3302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33941D08-856F-1645-9A80-4ABD38A759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69861" y="2600112"/>
            <a:ext cx="3844898" cy="3336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79B1774-930E-394D-930F-D92245CA44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349" y="2180916"/>
            <a:ext cx="2050488" cy="2733984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C97095-39B7-954A-9DB4-39FA2B874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67DC740-58D2-1947-AC56-556FB3125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B313EF-A9DF-5E40-85D3-C09A19734C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Biograph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A6BBD3-2C50-E348-A08B-40C111DA31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69408" y="3390900"/>
            <a:ext cx="5217319" cy="3924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lang="en-US" sz="120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 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l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atqu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 es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esti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e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isim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emo 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i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s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sus</a:t>
            </a: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endias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ib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itioremo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onsequ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tat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at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T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m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ovi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e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gnati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osaped</a:t>
            </a: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cti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, que non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od quo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 p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era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vend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nih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05762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1824" userDrawn="1">
          <p15:clr>
            <a:srgbClr val="FBAE40"/>
          </p15:clr>
        </p15:guide>
        <p15:guide id="3" orient="horz" pos="2136" userDrawn="1">
          <p15:clr>
            <a:srgbClr val="FBAE40"/>
          </p15:clr>
        </p15:guide>
        <p15:guide id="6" pos="1512" userDrawn="1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A11D87E-9102-8041-A545-614E56DC9B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9295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708AF069-4AAF-8F4F-895F-5193037975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9295" y="2722255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98D9EA-831F-1645-8FD6-80930C3F5C3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59476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5CA9C212-569D-2C4A-BD04-762202906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4C8B73F2-4891-2D4E-A20B-85B3FC606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282736A-63F0-2C4E-A20E-A06DC79A5B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Our Team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B884D121-85EE-F749-8D5B-A87A9656373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64611" y="304674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82" name="Text Placeholder 17">
            <a:extLst>
              <a:ext uri="{FF2B5EF4-FFF2-40B4-BE49-F238E27FC236}">
                <a16:creationId xmlns:a16="http://schemas.microsoft.com/office/drawing/2014/main" id="{F258A286-0285-2446-A5E2-62AADD2651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814876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9863B9A-3E47-C74F-971E-887289AF0E3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814876" y="2722255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4" name="Picture Placeholder 5">
            <a:extLst>
              <a:ext uri="{FF2B5EF4-FFF2-40B4-BE49-F238E27FC236}">
                <a16:creationId xmlns:a16="http://schemas.microsoft.com/office/drawing/2014/main" id="{7BB40C8F-E9CF-3445-A5E4-4882FDCA7B55}"/>
              </a:ext>
            </a:extLst>
          </p:cNvPr>
          <p:cNvSpPr>
            <a:spLocks noGrp="1" noChangeAspect="1"/>
          </p:cNvSpPr>
          <p:nvPr>
            <p:ph type="pic" sz="quarter" idx="60"/>
          </p:nvPr>
        </p:nvSpPr>
        <p:spPr>
          <a:xfrm>
            <a:off x="381505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73A3EEB5-64CB-DE4A-BC4A-03470206011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820192" y="304659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312194F6-FE3D-DC40-8824-EFB774D8E6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275626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0C47C18-B73D-6D4F-B1B5-F704476D84B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75626" y="2725530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98" name="Picture Placeholder 5">
            <a:extLst>
              <a:ext uri="{FF2B5EF4-FFF2-40B4-BE49-F238E27FC236}">
                <a16:creationId xmlns:a16="http://schemas.microsoft.com/office/drawing/2014/main" id="{E2D2C08D-AE3C-EB4F-B4D8-EBD677A8390D}"/>
              </a:ext>
            </a:extLst>
          </p:cNvPr>
          <p:cNvSpPr>
            <a:spLocks noGrp="1" noChangeAspect="1"/>
          </p:cNvSpPr>
          <p:nvPr>
            <p:ph type="pic" sz="quarter" idx="72"/>
          </p:nvPr>
        </p:nvSpPr>
        <p:spPr>
          <a:xfrm>
            <a:off x="727580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4655D302-B056-004F-AC7C-B2BE4208D00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280942" y="303941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07" name="Text Placeholder 17">
            <a:extLst>
              <a:ext uri="{FF2B5EF4-FFF2-40B4-BE49-F238E27FC236}">
                <a16:creationId xmlns:a16="http://schemas.microsoft.com/office/drawing/2014/main" id="{DBE1BC7B-6A59-F942-BFEA-E57DF606D480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280942" y="6640303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71B7768B-833A-A94C-B05A-3126E66608D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359295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183997D2-5C79-1D4A-AAE5-51D8B9B8FE7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59295" y="4537304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74" name="Picture Placeholder 5">
            <a:extLst>
              <a:ext uri="{FF2B5EF4-FFF2-40B4-BE49-F238E27FC236}">
                <a16:creationId xmlns:a16="http://schemas.microsoft.com/office/drawing/2014/main" id="{0E3BCFEA-B0BE-8141-8FCA-25C4534CC7E3}"/>
              </a:ext>
            </a:extLst>
          </p:cNvPr>
          <p:cNvSpPr>
            <a:spLocks noGrp="1" noChangeAspect="1"/>
          </p:cNvSpPr>
          <p:nvPr>
            <p:ph type="pic" sz="quarter" idx="84"/>
          </p:nvPr>
        </p:nvSpPr>
        <p:spPr>
          <a:xfrm>
            <a:off x="359476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4490CC13-6E18-5A40-98A9-EF6E9AB847E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11" y="486178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DA89615A-F6B0-5443-870B-3A8B1863B7D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814876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2B82D6AE-CE9E-2E45-A4A4-A92B7861A52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814876" y="4537304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94" name="Picture Placeholder 5">
            <a:extLst>
              <a:ext uri="{FF2B5EF4-FFF2-40B4-BE49-F238E27FC236}">
                <a16:creationId xmlns:a16="http://schemas.microsoft.com/office/drawing/2014/main" id="{64E73F09-9168-FE44-9270-870FF6C0F304}"/>
              </a:ext>
            </a:extLst>
          </p:cNvPr>
          <p:cNvSpPr>
            <a:spLocks noGrp="1" noChangeAspect="1"/>
          </p:cNvSpPr>
          <p:nvPr>
            <p:ph type="pic" sz="quarter" idx="88"/>
          </p:nvPr>
        </p:nvSpPr>
        <p:spPr>
          <a:xfrm>
            <a:off x="381505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F8ED6090-491F-8548-BE5A-3FC6A6CC2E7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820192" y="486163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08" name="Text Placeholder 17">
            <a:extLst>
              <a:ext uri="{FF2B5EF4-FFF2-40B4-BE49-F238E27FC236}">
                <a16:creationId xmlns:a16="http://schemas.microsoft.com/office/drawing/2014/main" id="{8FA5C4D5-A77D-D441-81C0-D20227A39AF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275626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09" name="Text Placeholder 17">
            <a:extLst>
              <a:ext uri="{FF2B5EF4-FFF2-40B4-BE49-F238E27FC236}">
                <a16:creationId xmlns:a16="http://schemas.microsoft.com/office/drawing/2014/main" id="{410C961D-B2A8-2F42-B8D6-8529C498A84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275626" y="454057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0" name="Picture Placeholder 5">
            <a:extLst>
              <a:ext uri="{FF2B5EF4-FFF2-40B4-BE49-F238E27FC236}">
                <a16:creationId xmlns:a16="http://schemas.microsoft.com/office/drawing/2014/main" id="{69A3C0BF-6999-4C41-9E7C-6D22F9FECCE0}"/>
              </a:ext>
            </a:extLst>
          </p:cNvPr>
          <p:cNvSpPr>
            <a:spLocks noGrp="1" noChangeAspect="1"/>
          </p:cNvSpPr>
          <p:nvPr>
            <p:ph type="pic" sz="quarter" idx="92"/>
          </p:nvPr>
        </p:nvSpPr>
        <p:spPr>
          <a:xfrm>
            <a:off x="727580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1" name="Text Placeholder 17">
            <a:extLst>
              <a:ext uri="{FF2B5EF4-FFF2-40B4-BE49-F238E27FC236}">
                <a16:creationId xmlns:a16="http://schemas.microsoft.com/office/drawing/2014/main" id="{E847A34A-FA18-294F-A2AA-42A8A04E3DD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280942" y="485445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12" name="Text Placeholder 17">
            <a:extLst>
              <a:ext uri="{FF2B5EF4-FFF2-40B4-BE49-F238E27FC236}">
                <a16:creationId xmlns:a16="http://schemas.microsoft.com/office/drawing/2014/main" id="{CE506D79-0E45-8746-A092-5F2D85579EFD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359295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3" name="Text Placeholder 17">
            <a:extLst>
              <a:ext uri="{FF2B5EF4-FFF2-40B4-BE49-F238E27FC236}">
                <a16:creationId xmlns:a16="http://schemas.microsoft.com/office/drawing/2014/main" id="{8EFBF95F-B693-464C-88B3-CEF008BD074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359295" y="63248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4" name="Picture Placeholder 5">
            <a:extLst>
              <a:ext uri="{FF2B5EF4-FFF2-40B4-BE49-F238E27FC236}">
                <a16:creationId xmlns:a16="http://schemas.microsoft.com/office/drawing/2014/main" id="{CD7F7CFB-EE6F-1243-83E8-6A781210E7B0}"/>
              </a:ext>
            </a:extLst>
          </p:cNvPr>
          <p:cNvSpPr>
            <a:spLocks noGrp="1" noChangeAspect="1"/>
          </p:cNvSpPr>
          <p:nvPr>
            <p:ph type="pic" sz="quarter" idx="96"/>
          </p:nvPr>
        </p:nvSpPr>
        <p:spPr>
          <a:xfrm>
            <a:off x="359476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5" name="Text Placeholder 17">
            <a:extLst>
              <a:ext uri="{FF2B5EF4-FFF2-40B4-BE49-F238E27FC236}">
                <a16:creationId xmlns:a16="http://schemas.microsoft.com/office/drawing/2014/main" id="{B24322DA-13F7-D940-A2CD-8E5322ECE3B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364611" y="664933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16" name="Text Placeholder 17">
            <a:extLst>
              <a:ext uri="{FF2B5EF4-FFF2-40B4-BE49-F238E27FC236}">
                <a16:creationId xmlns:a16="http://schemas.microsoft.com/office/drawing/2014/main" id="{C4B65721-8D39-344C-9501-A958A8B17AA3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4814876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7" name="Text Placeholder 17">
            <a:extLst>
              <a:ext uri="{FF2B5EF4-FFF2-40B4-BE49-F238E27FC236}">
                <a16:creationId xmlns:a16="http://schemas.microsoft.com/office/drawing/2014/main" id="{B0D115F9-DFCC-7C4F-BE2E-376249B73A3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814876" y="63248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8" name="Picture Placeholder 5">
            <a:extLst>
              <a:ext uri="{FF2B5EF4-FFF2-40B4-BE49-F238E27FC236}">
                <a16:creationId xmlns:a16="http://schemas.microsoft.com/office/drawing/2014/main" id="{441357CC-87B8-1148-8867-8CD67EEB5C24}"/>
              </a:ext>
            </a:extLst>
          </p:cNvPr>
          <p:cNvSpPr>
            <a:spLocks noGrp="1" noChangeAspect="1"/>
          </p:cNvSpPr>
          <p:nvPr>
            <p:ph type="pic" sz="quarter" idx="100"/>
          </p:nvPr>
        </p:nvSpPr>
        <p:spPr>
          <a:xfrm>
            <a:off x="381505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9" name="Text Placeholder 17">
            <a:extLst>
              <a:ext uri="{FF2B5EF4-FFF2-40B4-BE49-F238E27FC236}">
                <a16:creationId xmlns:a16="http://schemas.microsoft.com/office/drawing/2014/main" id="{387F1AC6-EE98-C741-AE68-F6FF5CFD51EF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4820192" y="664918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20" name="Text Placeholder 17">
            <a:extLst>
              <a:ext uri="{FF2B5EF4-FFF2-40B4-BE49-F238E27FC236}">
                <a16:creationId xmlns:a16="http://schemas.microsoft.com/office/drawing/2014/main" id="{CF11C440-3FC8-D549-A007-AEFE848BA18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275626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21" name="Text Placeholder 17">
            <a:extLst>
              <a:ext uri="{FF2B5EF4-FFF2-40B4-BE49-F238E27FC236}">
                <a16:creationId xmlns:a16="http://schemas.microsoft.com/office/drawing/2014/main" id="{1D7527AB-F872-5D4F-9180-6517078E2B0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8275626" y="6328128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22" name="Picture Placeholder 5">
            <a:extLst>
              <a:ext uri="{FF2B5EF4-FFF2-40B4-BE49-F238E27FC236}">
                <a16:creationId xmlns:a16="http://schemas.microsoft.com/office/drawing/2014/main" id="{CFB3C9FF-7436-9846-9211-762CC13EEE0C}"/>
              </a:ext>
            </a:extLst>
          </p:cNvPr>
          <p:cNvSpPr>
            <a:spLocks noGrp="1" noChangeAspect="1"/>
          </p:cNvSpPr>
          <p:nvPr>
            <p:ph type="pic" sz="quarter" idx="104"/>
          </p:nvPr>
        </p:nvSpPr>
        <p:spPr>
          <a:xfrm>
            <a:off x="727580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3" name="Text Placeholder 17">
            <a:extLst>
              <a:ext uri="{FF2B5EF4-FFF2-40B4-BE49-F238E27FC236}">
                <a16:creationId xmlns:a16="http://schemas.microsoft.com/office/drawing/2014/main" id="{6F30B1CA-5C2F-F540-82E3-85F0D71D24C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80942" y="664200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281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486B662-82A9-3240-99B0-CABFBF382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017F322-6C13-F740-B332-E77A00AED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6DF122C-D96D-6F42-9C0D-614B8475D9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9525">
              <a:lnSpc>
                <a:spcPts val="4125"/>
              </a:lnSpc>
              <a:buNone/>
              <a:tabLst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</p:spTree>
    <p:extLst>
      <p:ext uri="{BB962C8B-B14F-4D97-AF65-F5344CB8AC3E}">
        <p14:creationId xmlns:p14="http://schemas.microsoft.com/office/powerpoint/2010/main" val="369175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459513B-74D7-7742-B451-0A2A074BC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67C9897-77FD-E947-892C-ED90BBBF6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BEA7F6D-1BFD-3141-8D92-1C4D5ECC9F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10841-2B4E-434A-84C9-2317904A7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70" y="-139150"/>
            <a:ext cx="13716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12254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8F26D51-4839-0F4E-B752-B21A815B3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0CA9EEFB-C3EC-304A-843D-00359DB0B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F29C42D-3970-FF4C-BB9F-A1D9C3181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8187350-B34C-1448-A83B-3FAB83DDCC7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9873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55811FEA-2285-D345-962B-647DA797287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737151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FA163D3-BDF9-824E-8A4D-5BB4C9B224A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50994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43BBC51-E2C6-6046-8946-0951A903C8F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A851CCA-57B3-0046-9BD6-FC83A05AD7B7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734447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0A90DF1F-2517-4741-8F3A-634C7A7CE3B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7248065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35C852C2-C2A7-EA43-906E-C79B168FE0D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3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C8E18A9-E9D3-D642-BEEA-AC621C4D853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26156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C3D1D24F-ABFE-E742-8B7F-DB0A53E74E5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247067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7017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064" userDrawn="1">
          <p15:clr>
            <a:srgbClr val="FBAE40"/>
          </p15:clr>
        </p15:guide>
        <p15:guide id="6" orient="horz" pos="2664" userDrawn="1">
          <p15:clr>
            <a:srgbClr val="FBAE40"/>
          </p15:clr>
        </p15:guide>
        <p15:guide id="9" orient="horz" pos="2880" userDrawn="1">
          <p15:clr>
            <a:srgbClr val="FBAE40"/>
          </p15:clr>
        </p15:guide>
        <p15:guide id="10" orient="horz" pos="3024" userDrawn="1">
          <p15:clr>
            <a:srgbClr val="FBAE40"/>
          </p15:clr>
        </p15:guide>
        <p15:guide id="11" orient="horz" pos="1896" userDrawn="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2903CC2-B49C-254B-99F5-CED8DD4961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AF085A-2367-3B4F-B2D3-735C72EA9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1DE36CFC-41B2-8C47-9108-49B293173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757EB81F-7D3E-AD48-8696-3F5B6501A9A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79873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5DE3D25B-C45A-ED4F-86DA-54B4327EFA3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67531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0A0C3EF2-8C93-1F48-9734-992BA9936C8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476399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9" name="Text Placeholder 35">
            <a:extLst>
              <a:ext uri="{FF2B5EF4-FFF2-40B4-BE49-F238E27FC236}">
                <a16:creationId xmlns:a16="http://schemas.microsoft.com/office/drawing/2014/main" id="{59105C59-2C7F-F341-992C-22751EB0BB1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78197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D87C8E-8AA0-9C48-8003-F805FFA0BD4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B0BDA74-C70F-9D48-96FA-18508C0FA641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28771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3A6F76D-EC9F-0F46-97C9-F54AF3B19B30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77522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5F68AE7-31F3-B94B-BA23-AEB709E92A50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07784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69C6EF-58E8-744A-A89F-F181C118C0B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7743" y="4820241"/>
            <a:ext cx="2064261" cy="2494963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D2A3ABF-5388-1E4C-9A74-6626C6BF886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5" y="4820242"/>
            <a:ext cx="2064261" cy="2494963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419DE374-175B-F34F-BB71-14B2689F462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479540" y="4820236"/>
            <a:ext cx="2064261" cy="2494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222328-7E5E-B046-A2EA-5651060300D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081339" y="4820236"/>
            <a:ext cx="2064261" cy="2494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31576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088" userDrawn="1">
          <p15:clr>
            <a:srgbClr val="FBAE40"/>
          </p15:clr>
        </p15:guide>
        <p15:guide id="8" orient="horz" pos="2664" userDrawn="1">
          <p15:clr>
            <a:srgbClr val="FBAE40"/>
          </p15:clr>
        </p15:guide>
        <p15:guide id="9" orient="horz" pos="2880" userDrawn="1">
          <p15:clr>
            <a:srgbClr val="FBAE40"/>
          </p15:clr>
        </p15:guide>
        <p15:guide id="10" orient="horz" pos="3024" userDrawn="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4682A8E-0AB0-A24F-A5C7-CFEC79E53445}"/>
              </a:ext>
            </a:extLst>
          </p:cNvPr>
          <p:cNvSpPr/>
          <p:nvPr userDrawn="1"/>
        </p:nvSpPr>
        <p:spPr>
          <a:xfrm>
            <a:off x="342899" y="3009900"/>
            <a:ext cx="3422142" cy="43053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n>
                <a:noFill/>
              </a:ln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86B1C2-4F27-5345-8739-AAB8E4A18D6C}"/>
              </a:ext>
            </a:extLst>
          </p:cNvPr>
          <p:cNvSpPr/>
          <p:nvPr userDrawn="1"/>
        </p:nvSpPr>
        <p:spPr>
          <a:xfrm>
            <a:off x="7204897" y="3009904"/>
            <a:ext cx="3422142" cy="4305299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67A002-FD12-AD40-8FC6-33ADE9F19081}"/>
              </a:ext>
            </a:extLst>
          </p:cNvPr>
          <p:cNvSpPr/>
          <p:nvPr userDrawn="1"/>
        </p:nvSpPr>
        <p:spPr>
          <a:xfrm>
            <a:off x="3781688" y="3009900"/>
            <a:ext cx="3422142" cy="43053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759F02F-F474-474F-B0E6-0D758B042F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FBF3BBDA-0DB4-6D49-8F11-6FA88CE9D7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B48635D-BFE8-4C4E-85B1-F4D715E598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9F61871-D212-FB46-A1E0-5330B1E24FE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73974" y="1443310"/>
            <a:ext cx="4201091" cy="4769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Subtitle Here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82D614ED-C6D3-264A-ACB4-18E083D515A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31216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5" name="Text Placeholder 35">
            <a:extLst>
              <a:ext uri="{FF2B5EF4-FFF2-40B4-BE49-F238E27FC236}">
                <a16:creationId xmlns:a16="http://schemas.microsoft.com/office/drawing/2014/main" id="{064BFA76-4218-9749-BFDB-0BFA32812CF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988494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6" name="Text Placeholder 35">
            <a:extLst>
              <a:ext uri="{FF2B5EF4-FFF2-40B4-BE49-F238E27FC236}">
                <a16:creationId xmlns:a16="http://schemas.microsoft.com/office/drawing/2014/main" id="{AC4B0846-8D4C-5A44-AB59-730B0D8BAE0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7494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6FF3F498-C214-D344-94C1-AE54D68085A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52450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0DA53D-30DC-CD40-BDF2-CBF6A74AF732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971925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A1055217-ADD6-0544-A10B-C3E480F436F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7400925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D3DD26B-BA00-5B44-A8FE-62F25E12967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52450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E0A17F4-35C3-3042-96BA-17C275EC283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981450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428D181-0ACB-754A-9EBE-3E2B9F49CCA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403592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532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8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9" pos="378" userDrawn="1">
          <p15:clr>
            <a:srgbClr val="FBAE40"/>
          </p15:clr>
        </p15:guide>
        <p15:guide id="11" orient="horz" pos="4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8EAB05D-6023-6446-871F-F643EB21D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70254" y="8121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F8DC07FD-97E5-F849-914D-DDA379D30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758084B5-043A-364E-9017-9761E1269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27CA6C2-022E-7940-AB20-7F6D6EBEE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FBF50EC3-1DAF-2A41-A49D-6ECDAE7789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0254" y="21837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35A0945B-E76F-EC46-BB22-719D229440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0254" y="3591952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4EFCA974-995E-834E-B32B-39B4D905F2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70254" y="49269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71B36F53-D480-034F-900B-A3132AEAA1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0254" y="62985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881FD484-AB12-C645-92DC-2AEC6A14E5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5720" y="8121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0" name="Text Placeholder 4">
            <a:extLst>
              <a:ext uri="{FF2B5EF4-FFF2-40B4-BE49-F238E27FC236}">
                <a16:creationId xmlns:a16="http://schemas.microsoft.com/office/drawing/2014/main" id="{925247B1-5841-8B47-ABB6-E3A3383F8F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55720" y="21837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3CB13209-88F5-E745-9B33-164E9BB2CA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5720" y="3591952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26C66067-50E5-9843-A3EA-12D8A95E04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55720" y="49269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AFFEDDAB-BD3E-FD47-8C4A-ED8CB817DF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55720" y="62985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D0290E-155D-E042-8C37-BFE5C31CF3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2313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03850412-D5BD-1548-B6F8-95D26F3D2B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2313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37D55A63-6236-BE40-ABFF-90BF50E865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2313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7478E59C-481E-784F-8481-4C406642D3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2313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F49F66D-3EB4-C649-AA52-C1CE55D9E2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02313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77AFEA5E-3A24-F547-A539-252800FA175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9502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61404EC6-6819-F741-BB8E-B3A4BC3933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02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C89586CB-F15A-1F4A-9185-9AC4D760D9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9502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CBF71C3F-9226-064A-8CCD-B2F930C7F1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29502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94A6A3D4-EDAB-5D4D-9BD5-77EDF50FBB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29502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52467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504" userDrawn="1">
          <p15:clr>
            <a:srgbClr val="FBAE40"/>
          </p15:clr>
        </p15:guide>
        <p15:guide id="14" orient="horz" pos="1368" userDrawn="1">
          <p15:clr>
            <a:srgbClr val="FBAE40"/>
          </p15:clr>
        </p15:guide>
        <p15:guide id="16" orient="horz" pos="3000" userDrawn="1">
          <p15:clr>
            <a:srgbClr val="FBAE40"/>
          </p15:clr>
        </p15:guide>
        <p15:guide id="17" orient="horz" pos="3864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0234ADA-DD1C-A74C-916C-C972FB304774}"/>
              </a:ext>
            </a:extLst>
          </p:cNvPr>
          <p:cNvSpPr/>
          <p:nvPr userDrawn="1"/>
        </p:nvSpPr>
        <p:spPr>
          <a:xfrm>
            <a:off x="342900" y="3009900"/>
            <a:ext cx="2551176" cy="4306824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n>
                <a:noFill/>
              </a:ln>
              <a:solidFill>
                <a:srgbClr val="E9E9E9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94BCB9-3949-2E45-85C9-5CEE1536AB52}"/>
              </a:ext>
            </a:extLst>
          </p:cNvPr>
          <p:cNvSpPr/>
          <p:nvPr userDrawn="1"/>
        </p:nvSpPr>
        <p:spPr>
          <a:xfrm>
            <a:off x="5500942" y="3009900"/>
            <a:ext cx="2551176" cy="4306824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271C14-ED70-8C4F-9A9D-0038D0B4F6A8}"/>
              </a:ext>
            </a:extLst>
          </p:cNvPr>
          <p:cNvSpPr/>
          <p:nvPr userDrawn="1"/>
        </p:nvSpPr>
        <p:spPr>
          <a:xfrm>
            <a:off x="8079819" y="3009900"/>
            <a:ext cx="2551176" cy="43053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rgbClr val="FFFFFF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CCE8E2-20BB-4D4B-B82D-272D8D226EE3}"/>
              </a:ext>
            </a:extLst>
          </p:cNvPr>
          <p:cNvSpPr/>
          <p:nvPr userDrawn="1"/>
        </p:nvSpPr>
        <p:spPr>
          <a:xfrm>
            <a:off x="2921695" y="3009900"/>
            <a:ext cx="2551176" cy="4306824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0E047483-1460-4B4C-8403-B3511EF40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9AEE7414-462C-2C4F-83B8-B844CD89EF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C1D65FD-AF2E-7E44-B68C-399AD07E11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AFC83656-3F6C-5D4A-9B1F-3024A248D12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7837" y="4977569"/>
            <a:ext cx="1991044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2" name="Text Placeholder 35">
            <a:extLst>
              <a:ext uri="{FF2B5EF4-FFF2-40B4-BE49-F238E27FC236}">
                <a16:creationId xmlns:a16="http://schemas.microsoft.com/office/drawing/2014/main" id="{56AAEC07-AECA-1B4F-988F-3330DB8CD83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044285" y="4977569"/>
            <a:ext cx="199634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3" name="Text Placeholder 35">
            <a:extLst>
              <a:ext uri="{FF2B5EF4-FFF2-40B4-BE49-F238E27FC236}">
                <a16:creationId xmlns:a16="http://schemas.microsoft.com/office/drawing/2014/main" id="{CD1370D0-73FB-2D43-9EA9-430A6DCA274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10731" y="4977569"/>
            <a:ext cx="199115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5D2AFB2B-6A55-6349-B629-7E84E2966DA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91319" y="4977569"/>
            <a:ext cx="199115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01E793F-9A64-2B47-BB2B-5A0A5CB1C25A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4953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771CF32-CFAC-434D-80F4-B55690CC685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0480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F3A270C-236F-DB43-AA87-A292403753A6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6007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70253B5C-2F2A-834A-85D4-7D739538370E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1915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1F32C06-61AB-6148-9F44-76926C76C9E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048762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16BACAA-4DAC-9E41-B886-9B588424A7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620512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229B95EF-59F9-2A4B-896D-853AAFE1CB8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199120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D96E48C-7839-7245-B664-B139CBE2F99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90913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6095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8" userDrawn="1">
          <p15:clr>
            <a:srgbClr val="FBAE40"/>
          </p15:clr>
        </p15:guide>
        <p15:guide id="4" pos="6462" userDrawn="1">
          <p15:clr>
            <a:srgbClr val="FBAE40"/>
          </p15:clr>
        </p15:guide>
        <p15:guide id="8" orient="horz" pos="2280" userDrawn="1">
          <p15:clr>
            <a:srgbClr val="FBAE40"/>
          </p15:clr>
        </p15:guide>
        <p15:guide id="9" orient="horz" pos="3168" userDrawn="1">
          <p15:clr>
            <a:srgbClr val="FBAE40"/>
          </p15:clr>
        </p15:guide>
        <p15:guide id="10" orient="horz" pos="4368" userDrawn="1">
          <p15:clr>
            <a:srgbClr val="FBAE40"/>
          </p15:clr>
        </p15:guide>
        <p15:guide id="11" pos="342" userDrawn="1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7">
            <a:extLst>
              <a:ext uri="{FF2B5EF4-FFF2-40B4-BE49-F238E27FC236}">
                <a16:creationId xmlns:a16="http://schemas.microsoft.com/office/drawing/2014/main" id="{8DCEA276-9209-A441-A46A-C9C61A22AB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322" y="2569464"/>
            <a:ext cx="5143501" cy="4745736"/>
          </a:xfrm>
          <a:prstGeom prst="rect">
            <a:avLst/>
          </a:prstGeom>
        </p:spPr>
        <p:txBody>
          <a:bodyPr>
            <a:normAutofit/>
          </a:bodyPr>
          <a:lstStyle>
            <a:lvl1pPr marL="160004" indent="-160004">
              <a:lnSpc>
                <a:spcPct val="90000"/>
              </a:lnSpc>
              <a:buFont typeface="Arial" panose="020B0604020202020204" pitchFamily="34" charset="0"/>
              <a:buChar char="•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154292" marR="0" indent="0" algn="l" defTabSz="822878" rtl="0" eaLnBrk="1" fontAlgn="auto" latinLnBrk="0" hangingPunct="1">
              <a:lnSpc>
                <a:spcPct val="9000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  <a:p>
            <a:pPr marL="310010" marR="0" lvl="1" indent="-155719" algn="l" defTabSz="822878" rtl="0" eaLnBrk="1" fontAlgn="auto" latinLnBrk="0" hangingPunct="1">
              <a:lnSpc>
                <a:spcPts val="225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DB8790C-9C94-8345-B804-9E75D9B4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D5D61A-2FD6-4D4C-B1CF-F215103CD5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38C6021-8DB3-1642-94F8-111AD16A6A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1151741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28" userDrawn="1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0136C6-F7AB-8B49-928A-338D3A76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C2B5399-B34C-E849-947E-DA2E8E94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40F72-08C8-A04F-B3F3-EAD6099F17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895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8DEA317-5C53-964A-8725-0A575FF6F0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C482676B-8FFD-D249-840A-A4B768AAB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4219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484AE173-66FD-0C4F-9F7F-ED0CFFD441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73401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406438DA-82F4-2041-B4C1-FDA04BB04D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6299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EE9E89-CAEA-6749-A5BF-C6CDC24EB7F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1115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52CEB8D-161D-1847-B77C-09583DCD8B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876034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36C8D09-4B68-7E43-92BC-03886CC61F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70953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C5E1225-9BE0-4247-986F-F2F38964C5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090586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055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  <p15:guide id="2" orient="horz" pos="2712" userDrawn="1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EA316B1-8B83-4447-9E9B-FC8990B58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DBF914A0-0724-6D44-A730-43399C25E4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AF55CED-C52E-DE4B-A864-765ED6CEC0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47">
            <a:extLst>
              <a:ext uri="{FF2B5EF4-FFF2-40B4-BE49-F238E27FC236}">
                <a16:creationId xmlns:a16="http://schemas.microsoft.com/office/drawing/2014/main" id="{FABE53FC-70A9-7B46-A693-EA6C242AAC2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906525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17" name="Text Placeholder 47">
            <a:extLst>
              <a:ext uri="{FF2B5EF4-FFF2-40B4-BE49-F238E27FC236}">
                <a16:creationId xmlns:a16="http://schemas.microsoft.com/office/drawing/2014/main" id="{AAFA1AFF-9BF5-3047-83C1-29B70132C41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719" y="3670306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18" name="Text Placeholder 47">
            <a:extLst>
              <a:ext uri="{FF2B5EF4-FFF2-40B4-BE49-F238E27FC236}">
                <a16:creationId xmlns:a16="http://schemas.microsoft.com/office/drawing/2014/main" id="{DF0375E5-9244-D04E-9C70-10554E1834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75736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22" name="Text Placeholder 47">
            <a:extLst>
              <a:ext uri="{FF2B5EF4-FFF2-40B4-BE49-F238E27FC236}">
                <a16:creationId xmlns:a16="http://schemas.microsoft.com/office/drawing/2014/main" id="{3C2D9C96-67D2-B447-8672-01E0E5DF3D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092777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039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52" userDrawn="1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74CDF4B0-2E35-9843-BE83-6C144954D58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2900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4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40259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5">
            <a:extLst>
              <a:ext uri="{FF2B5EF4-FFF2-40B4-BE49-F238E27FC236}">
                <a16:creationId xmlns:a16="http://schemas.microsoft.com/office/drawing/2014/main" id="{85178677-6C05-8641-847C-C03510C54C7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31654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354CDB8F-F229-6B47-90D2-BFF11BD7EE9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19277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10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3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6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30816B2-6BE8-ED44-B9A3-EF9BCEAFB2E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9536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BE6BC68-0A82-3E44-8B2F-E96D5B9779F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449115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EDB1CC1-73C6-5645-A7D7-7B578CB809C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044739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4F387A61-12D4-B848-ACDA-41D6C7CB76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66552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9448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16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7" orient="horz" pos="3288" userDrawn="1">
          <p15:clr>
            <a:srgbClr val="FBAE40"/>
          </p15:clr>
        </p15:guide>
        <p15:guide id="8" orient="horz" pos="3480" userDrawn="1">
          <p15:clr>
            <a:srgbClr val="FBAE40"/>
          </p15:clr>
        </p15:guide>
        <p15:guide id="10" pos="6840" userDrawn="1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4" y="427240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940259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10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3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6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41C27F56-6EFC-A441-9C2D-10CE4433874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5234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0AEAB501-3096-AF4F-B436-6E6240708D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75310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FD8B8259-35A0-564E-B170-F909CA04F15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51533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27C9FBE6-5465-1847-9A14-285A9B68F0A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045646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78AC1F9C-0EA2-6940-87FC-B71E90AE410D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518520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37" name="Picture Placeholder 15">
            <a:extLst>
              <a:ext uri="{FF2B5EF4-FFF2-40B4-BE49-F238E27FC236}">
                <a16:creationId xmlns:a16="http://schemas.microsoft.com/office/drawing/2014/main" id="{3D133F5B-4C0C-004F-9093-B7D3D6DED8A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122824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0" name="Picture Placeholder 15">
            <a:extLst>
              <a:ext uri="{FF2B5EF4-FFF2-40B4-BE49-F238E27FC236}">
                <a16:creationId xmlns:a16="http://schemas.microsoft.com/office/drawing/2014/main" id="{AC540D40-8013-854D-B2C3-76FDC36525D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940259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9E94E62A-05C7-E243-93CC-EDC4EAB951A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518520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2" name="Picture Placeholder 15">
            <a:extLst>
              <a:ext uri="{FF2B5EF4-FFF2-40B4-BE49-F238E27FC236}">
                <a16:creationId xmlns:a16="http://schemas.microsoft.com/office/drawing/2014/main" id="{B75EE488-C0ED-E44E-987B-7A0179559C7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122824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3" name="Picture Placeholder 15">
            <a:extLst>
              <a:ext uri="{FF2B5EF4-FFF2-40B4-BE49-F238E27FC236}">
                <a16:creationId xmlns:a16="http://schemas.microsoft.com/office/drawing/2014/main" id="{906C6984-65CE-7B45-B326-F57045AFC461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44636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B1C4EE-1A0F-9646-A3FE-5C6D576B0B32}"/>
              </a:ext>
            </a:extLst>
          </p:cNvPr>
          <p:cNvSpPr txBox="1"/>
          <p:nvPr userDrawn="1"/>
        </p:nvSpPr>
        <p:spPr>
          <a:xfrm>
            <a:off x="2948940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96F487-8696-E746-BE29-3D797D4E3500}"/>
              </a:ext>
            </a:extLst>
          </p:cNvPr>
          <p:cNvSpPr txBox="1"/>
          <p:nvPr userDrawn="1"/>
        </p:nvSpPr>
        <p:spPr>
          <a:xfrm>
            <a:off x="5509839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174078-4FA5-FC4D-9638-0EE6DD706364}"/>
              </a:ext>
            </a:extLst>
          </p:cNvPr>
          <p:cNvSpPr txBox="1"/>
          <p:nvPr userDrawn="1"/>
        </p:nvSpPr>
        <p:spPr>
          <a:xfrm>
            <a:off x="8114143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804565-7374-C745-9825-D7F3EDD5EBE2}"/>
              </a:ext>
            </a:extLst>
          </p:cNvPr>
          <p:cNvSpPr txBox="1"/>
          <p:nvPr userDrawn="1"/>
        </p:nvSpPr>
        <p:spPr>
          <a:xfrm>
            <a:off x="2948940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DE661D-D0B2-B64F-82BD-3D94F6023BB5}"/>
              </a:ext>
            </a:extLst>
          </p:cNvPr>
          <p:cNvSpPr txBox="1"/>
          <p:nvPr userDrawn="1"/>
        </p:nvSpPr>
        <p:spPr>
          <a:xfrm>
            <a:off x="327275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56A44A-5B27-6549-BCCB-9CA0EB7CB051}"/>
              </a:ext>
            </a:extLst>
          </p:cNvPr>
          <p:cNvSpPr txBox="1"/>
          <p:nvPr userDrawn="1"/>
        </p:nvSpPr>
        <p:spPr>
          <a:xfrm>
            <a:off x="5509839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2810E12-5685-324C-9255-BB0A7DCEB618}"/>
              </a:ext>
            </a:extLst>
          </p:cNvPr>
          <p:cNvSpPr txBox="1"/>
          <p:nvPr userDrawn="1"/>
        </p:nvSpPr>
        <p:spPr>
          <a:xfrm>
            <a:off x="8114143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6" name="Picture Placeholder 15">
            <a:extLst>
              <a:ext uri="{FF2B5EF4-FFF2-40B4-BE49-F238E27FC236}">
                <a16:creationId xmlns:a16="http://schemas.microsoft.com/office/drawing/2014/main" id="{E391C987-2B98-F34D-A049-FF694B6832C1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51518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80CDE7-24B8-6748-8062-FD1716CE6A43}"/>
              </a:ext>
            </a:extLst>
          </p:cNvPr>
          <p:cNvSpPr txBox="1"/>
          <p:nvPr userDrawn="1"/>
        </p:nvSpPr>
        <p:spPr>
          <a:xfrm>
            <a:off x="341665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1708042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7" orient="horz" pos="4368" userDrawn="1">
          <p15:clr>
            <a:srgbClr val="FBAE40"/>
          </p15:clr>
        </p15:guide>
        <p15:guide id="8" orient="horz" pos="4320" userDrawn="1">
          <p15:clr>
            <a:srgbClr val="FBAE40"/>
          </p15:clr>
        </p15:guide>
        <p15:guide id="9" pos="6876" userDrawn="1">
          <p15:clr>
            <a:srgbClr val="FBAE40"/>
          </p15:clr>
        </p15:guide>
        <p15:guide id="12" orient="horz" pos="2592" userDrawn="1">
          <p15:clr>
            <a:srgbClr val="FBAE40"/>
          </p15:clr>
        </p15:guide>
        <p15:guide id="13" orient="horz" pos="2664" userDrawn="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665664E-29A2-7D47-94A1-F271640173FB}"/>
              </a:ext>
            </a:extLst>
          </p:cNvPr>
          <p:cNvSpPr/>
          <p:nvPr userDrawn="1"/>
        </p:nvSpPr>
        <p:spPr>
          <a:xfrm>
            <a:off x="5486400" y="4114800"/>
            <a:ext cx="5486400" cy="41148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FFAF22CE-B3C3-1A44-BACC-978F7568C3F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86400" y="4"/>
            <a:ext cx="5486400" cy="4138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97673B-4571-B649-85C4-8A05A650B0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8" y="4739966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3C757C-0FF0-224D-AE08-0CD532ED3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78" y="2570453"/>
            <a:ext cx="5017804" cy="3657600"/>
          </a:xfrm>
          <a:prstGeom prst="rect">
            <a:avLst/>
          </a:prstGeom>
        </p:spPr>
        <p:txBody>
          <a:bodyPr/>
          <a:lstStyle>
            <a:lvl1pPr marL="214303" marR="0" indent="-214303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311438" indent="-151433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  <a:lvl3pPr marL="822878" indent="0">
              <a:buNone/>
              <a:defRPr sz="1260">
                <a:latin typeface="GT America" pitchFamily="2" charset="77"/>
              </a:defRPr>
            </a:lvl3pPr>
            <a:lvl4pPr marL="1234319" indent="0">
              <a:buNone/>
              <a:defRPr sz="1260">
                <a:latin typeface="GT America" pitchFamily="2" charset="77"/>
              </a:defRPr>
            </a:lvl4pPr>
            <a:lvl5pPr marL="1645756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.</a:t>
            </a:r>
          </a:p>
          <a:p>
            <a:pPr lvl="1"/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A27059-1E34-1346-B6C7-8FD979A24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8BED4A0-5B15-EB47-A9FC-C5394EAB0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A0B9D8D-C7A3-8D49-B71E-6BEDF4B7D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7F4307F-1CAD-C34F-8498-A81C733DA8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0" y="6659305"/>
            <a:ext cx="2837259" cy="218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948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4" orient="horz" pos="4224" userDrawn="1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DAD5AB0-3A28-2C40-94A3-9BE6620875FD}"/>
              </a:ext>
            </a:extLst>
          </p:cNvPr>
          <p:cNvSpPr/>
          <p:nvPr userDrawn="1"/>
        </p:nvSpPr>
        <p:spPr>
          <a:xfrm>
            <a:off x="5486400" y="4114799"/>
            <a:ext cx="5486400" cy="41148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6" name="Picture Placeholder 71">
            <a:extLst>
              <a:ext uri="{FF2B5EF4-FFF2-40B4-BE49-F238E27FC236}">
                <a16:creationId xmlns:a16="http://schemas.microsoft.com/office/drawing/2014/main" id="{A8C1BABD-5F95-8B4A-B334-C4CFA84E1A1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86400" y="4"/>
            <a:ext cx="5486400" cy="4138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A1BA74-FBAF-474A-B0D1-30863F688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E0FEB22-339C-7843-9A59-9B2765D2A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312AB3-07CD-4F46-87E9-F6D4BA7AA7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854D194-EFC1-E64E-B414-EFED2D365B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8" y="4739966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432B7BB-EDE4-3649-8508-9CF17E729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80" y="2570457"/>
            <a:ext cx="4162723" cy="4744747"/>
          </a:xfrm>
          <a:prstGeom prst="rect">
            <a:avLst/>
          </a:prstGeom>
        </p:spPr>
        <p:txBody>
          <a:bodyPr/>
          <a:lstStyle>
            <a:lvl1pPr marL="214303" marR="0" indent="-214303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311438" indent="-151433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  <a:lvl3pPr marL="822878" indent="0">
              <a:buNone/>
              <a:defRPr sz="1260">
                <a:latin typeface="GT America" pitchFamily="2" charset="77"/>
              </a:defRPr>
            </a:lvl3pPr>
            <a:lvl4pPr marL="1234319" indent="0">
              <a:buNone/>
              <a:defRPr sz="1260">
                <a:latin typeface="GT America" pitchFamily="2" charset="77"/>
              </a:defRPr>
            </a:lvl4pPr>
            <a:lvl5pPr marL="1645756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.</a:t>
            </a:r>
          </a:p>
          <a:p>
            <a:pPr lvl="1"/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.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CC00F7A1-A9C5-E441-82AF-C1C8F645D7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0" y="6659305"/>
            <a:ext cx="2837259" cy="218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48270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F1B7ED3-6B19-954B-A4E1-DE64D8A79994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44283" y="30701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8.5bn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9BDDCDB-D517-FD4B-8E5B-E4A3107F7729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EABD1-DAEF-9F40-81E8-852E00DE461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2EE4034-E1C7-7246-BA8C-5B5F427B73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71972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996FD47-10E5-F947-A4C3-040AA004CF0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92002B-F90E-E84E-BDA2-66BF0D5E01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4470"/>
            <a:ext cx="2634680" cy="3750732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5963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04" userDrawn="1">
          <p15:clr>
            <a:srgbClr val="FBAE40"/>
          </p15:clr>
        </p15:guide>
        <p15:guide id="4" orient="horz" pos="3264" userDrawn="1">
          <p15:clr>
            <a:srgbClr val="FBAE40"/>
          </p15:clr>
        </p15:guide>
        <p15:guide id="5" orient="horz" pos="4536" userDrawn="1">
          <p15:clr>
            <a:srgbClr val="FBAE40"/>
          </p15:clr>
        </p15:guide>
        <p15:guide id="8" orient="horz" pos="2592" userDrawn="1">
          <p15:clr>
            <a:srgbClr val="FBAE40"/>
          </p15:clr>
        </p15:guide>
        <p15:guide id="9" orient="horz" pos="1896" userDrawn="1">
          <p15:clr>
            <a:srgbClr val="FBAE40"/>
          </p15:clr>
        </p15:guide>
        <p15:guide id="10" orient="horz" pos="1728" userDrawn="1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D38AB2D-B406-FF4B-BF0F-083823599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F8B370F0-3B52-6149-82EB-A212DA08E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81B99F6-04F9-D143-91F5-58FFD93642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E75B37E-2995-DA45-96DB-2E749ECFB873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0C58EB2-5C0C-EF4F-9EDE-FE88CABE6E27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0D13308-388E-B540-AA97-7043001F231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057F9DC6-0F74-B443-9FA8-54EDD4D9A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5542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4ACFCC-1045-4949-BEE9-4720F6600E5D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C8021D3-26ED-BE41-8ACF-523C581EEA0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0EDEEFC5-5AEC-D343-BC64-A20DF26168F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EBAE028-A2DC-FE47-BF1B-7F1EE102399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15444EA-5BE2-3A43-8A37-8ECD679B669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549645D7-2239-E34E-977B-8B0EB55B7D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5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43398B6-2A74-6F4A-8075-5D10728268B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71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303D567E-6E90-744C-B2A0-D643E0F637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452111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4DB436AF-4BF3-EC47-8D2C-8AF9147E08C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38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A9F7746-7522-DD44-83E8-BE7A0F4CFA3B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EE26970-DA91-D24A-B24E-9DADEFA332A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2"/>
            <a:ext cx="2634680" cy="3730752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15100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 userDrawn="1">
          <p15:clr>
            <a:srgbClr val="FBAE40"/>
          </p15:clr>
        </p15:guide>
        <p15:guide id="2" orient="horz" pos="3264" userDrawn="1">
          <p15:clr>
            <a:srgbClr val="FBAE40"/>
          </p15:clr>
        </p15:guide>
        <p15:guide id="3" orient="horz" pos="4536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233E17E-5377-C24C-AD2C-39BA429667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75213" y="26841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9E43623-1ADA-7C4F-923F-B58B9AC621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75615" y="30724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394B72A7-E3E8-CC4B-816F-2A1593643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6803EFAD-4A5C-C948-9D16-079F72932A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EEC7578-AE97-504B-991A-7FA2939B95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Next Step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42DD4E-0A20-B240-8C4D-8BCDA14E68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2852" y="26841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24234E21-09D7-5244-A79E-3EF2C41AF6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61363" y="26841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3B433C64-5662-864A-870D-E0F2479AA8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1765" y="30724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C5D9B63E-206A-3A42-ABB9-F04E60D4BA4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39002" y="26841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136B03FB-33C3-BF4C-BD6F-3A81C31A82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75213" y="45129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DDC4BDDB-4701-C141-9543-D26BEB144D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75615" y="49012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1173C913-F578-7342-9BC9-2B905AF7CD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2852" y="45129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55DE7C74-C751-4E43-9361-A930663D3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89469" y="45129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786A57D-7605-784A-AC6B-BF9BEFC55E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89871" y="49012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09B95635-2B14-0347-8AF2-D0FAD5D48F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39002" y="45129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1F9206FB-46D1-C640-8F1C-714F8758E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5213" y="63417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E6731DF6-8C41-D241-A94C-ADA9924643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75615" y="67300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A9B41717-A488-8A47-9468-F9BCDA4DA76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52852" y="63417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6F3697DF-F2C0-B74B-8B8E-F5F04C77CE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61363" y="63417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10208B9-EBAF-024B-BDBD-B821C46A56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61765" y="67300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54CB2744-2AEB-A64E-A434-B328B74315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39002" y="63417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588353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8" userDrawn="1">
          <p15:clr>
            <a:srgbClr val="FBAE40"/>
          </p15:clr>
        </p15:guide>
        <p15:guide id="2" orient="horz" pos="2760" userDrawn="1">
          <p15:clr>
            <a:srgbClr val="FBAE40"/>
          </p15:clr>
        </p15:guide>
        <p15:guide id="3" orient="horz" pos="3912" userDrawn="1">
          <p15:clr>
            <a:srgbClr val="FBAE40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665877-4334-864C-9D33-4C963E2EB9A6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FD0ECCA-7FBF-EC45-80FA-79AEE8526D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98010" y="33125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ACC7B9EA-F978-A348-9397-F545378C0F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3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792D6B90-E22B-B54F-AB02-2FE60B59EE9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2505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242A32C-70DA-3541-86E4-DEB88241A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7A176CA7-E579-424E-9650-7B467D40A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BA2D8BF-E617-1240-ADA0-BE5CB0E8E3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ECE185B-F547-894B-BA13-E24374A0F87B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6756D6F-CB84-2843-AB66-8CB231DB23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5382E83-076B-4D41-B816-E9739B0FEF6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9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1B34D03-1108-114D-9626-7F3D9985BA2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830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60B174F-49F1-DE43-8BF9-56D0BA220C0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34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CDAA985-C7B7-6F44-AD22-64271D1B3E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159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EABDBAC-4361-8D4E-BFE1-06CA51AE90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830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DC8F02FE-06F8-1049-A01C-F444135B2E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9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A9ABE5EE-89CE-0346-868E-F3A335C3F3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A4278D69-396D-6445-A156-2E8A2EC75A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730EFD7-C2C5-1748-B34C-EFA109D4819B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56510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728" userDrawn="1">
          <p15:clr>
            <a:srgbClr val="FBAE40"/>
          </p15:clr>
        </p15:guide>
        <p15:guide id="6" orient="horz" pos="2208" userDrawn="1">
          <p15:clr>
            <a:srgbClr val="FBAE40"/>
          </p15:clr>
        </p15:guide>
        <p15:guide id="7" orient="horz" pos="3264" userDrawn="1">
          <p15:clr>
            <a:srgbClr val="FBAE40"/>
          </p15:clr>
        </p15:guide>
        <p15:guide id="8" orient="horz" pos="3456" userDrawn="1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0AC17228-FDCA-4041-9A54-ADC0FEE9C55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10972800" cy="8229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lace image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8504AF-9EF1-5449-88C1-29BE7D24B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4783DF6-41E2-4D4B-BAFD-D284B0B5C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90970C6-B662-AE44-B459-54AABA9B3C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770E5FF6-7D6B-7947-886D-08B5315828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3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16B6CA-AD7F-CD4D-A695-CC8B343A3E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3" y="3397650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u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313283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 userDrawn="1">
          <p15:clr>
            <a:srgbClr val="FBAE40"/>
          </p15:clr>
        </p15:guide>
        <p15:guide id="2" orient="horz" pos="2184" userDrawn="1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403E054-70E9-7E45-B65A-CB417AF6B088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5486401" y="1817370"/>
            <a:ext cx="5246484" cy="549783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96A91FC-055C-7A44-8AD4-5530B82A27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2E14EE6-88ED-824E-926A-F12F0DF35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B36D71-9C76-8443-926C-09D9F3B83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EF3EAB3-F5C8-2B46-A853-E9AE626EDC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42E972-57AB-2143-AB8E-FBDCCF5852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82179" y="4257554"/>
            <a:ext cx="2486901" cy="3057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39E6D7-7242-774B-B1AC-9AB4CB9957A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7756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589E4F8-A981-E747-A67E-C2EEC2271DD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877803" y="4257554"/>
            <a:ext cx="2486901" cy="3057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94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84" userDrawn="1">
          <p15:clr>
            <a:srgbClr val="FBAE40"/>
          </p15:clr>
        </p15:guide>
        <p15:guide id="2" pos="6066" userDrawn="1">
          <p15:clr>
            <a:srgbClr val="FBAE40"/>
          </p15:clr>
        </p15:guide>
        <p15:guide id="3" orient="horz" pos="1152" userDrawn="1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6129327" cy="4419591"/>
          </a:xfrm>
          <a:prstGeom prst="rect">
            <a:avLst/>
          </a:prstGeom>
        </p:spPr>
        <p:txBody>
          <a:bodyPr/>
          <a:lstStyle>
            <a:lvl1pPr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1B22384-DF50-5345-8A18-D597B10BBA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20684" y="5952700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14,890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075D076-EDAE-D842-A7DA-A38169906A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5589" y="5205422"/>
            <a:ext cx="1408339" cy="3000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F0016F-BC3A-9F45-9A7C-DAD9D6B7CE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35589" y="6524757"/>
            <a:ext cx="1408339" cy="3000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86303E-980F-0D4F-8909-084E1AD5AE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35589" y="3668908"/>
            <a:ext cx="1408339" cy="278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B813071-AF69-734D-AC8C-78856B98881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20684" y="4636804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11,377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05767" y="2745303"/>
            <a:ext cx="3374464" cy="847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86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37,540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hart Placeholder 23">
            <a:extLst>
              <a:ext uri="{FF2B5EF4-FFF2-40B4-BE49-F238E27FC236}">
                <a16:creationId xmlns:a16="http://schemas.microsoft.com/office/drawing/2014/main" id="{D257CB94-FEC5-014F-8EFE-1ECC6EBF358A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8858252" y="5791201"/>
            <a:ext cx="885825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Chart Placeholder 23">
            <a:extLst>
              <a:ext uri="{FF2B5EF4-FFF2-40B4-BE49-F238E27FC236}">
                <a16:creationId xmlns:a16="http://schemas.microsoft.com/office/drawing/2014/main" id="{EFB9E721-3106-5B44-9C3D-2A07F980F882}"/>
              </a:ext>
            </a:extLst>
          </p:cNvPr>
          <p:cNvSpPr>
            <a:spLocks noGrp="1"/>
          </p:cNvSpPr>
          <p:nvPr>
            <p:ph type="chart" sz="quarter" idx="35"/>
          </p:nvPr>
        </p:nvSpPr>
        <p:spPr>
          <a:xfrm>
            <a:off x="8858252" y="4470401"/>
            <a:ext cx="885825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595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6" orient="horz" pos="2256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  <p15:guide id="8" orient="horz" pos="3216" userDrawn="1">
          <p15:clr>
            <a:srgbClr val="FBAE40"/>
          </p15:clr>
        </p15:guide>
        <p15:guide id="9" orient="horz" pos="3648" userDrawn="1">
          <p15:clr>
            <a:srgbClr val="FBAE40"/>
          </p15:clr>
        </p15:guide>
        <p15:guide id="10" orient="horz" pos="4632" userDrawn="1">
          <p15:clr>
            <a:srgbClr val="FBAE40"/>
          </p15:clr>
        </p15:guide>
        <p15:guide id="11" pos="4014" userDrawn="1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6129327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35586" y="2745303"/>
            <a:ext cx="2608491" cy="4569893"/>
          </a:xfrm>
          <a:prstGeom prst="rect">
            <a:avLst/>
          </a:prstGeom>
        </p:spPr>
        <p:txBody>
          <a:bodyPr>
            <a:noAutofit/>
          </a:bodyPr>
          <a:lstStyle>
            <a:lvl1pPr marL="128582" indent="-128582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5623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6" orient="horz" pos="2256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  <p15:guide id="8" orient="horz" pos="3216" userDrawn="1">
          <p15:clr>
            <a:srgbClr val="FBAE40"/>
          </p15:clr>
        </p15:guide>
        <p15:guide id="9" orient="horz" pos="3648" userDrawn="1">
          <p15:clr>
            <a:srgbClr val="FBAE40"/>
          </p15:clr>
        </p15:guide>
        <p15:guide id="11" pos="4014" userDrawn="1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7858125" y="4800600"/>
            <a:ext cx="0" cy="2400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7562" y="27399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51.7 bn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00634" y="55579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.5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5" y="45720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5579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2.6</a:t>
            </a:r>
          </a:p>
        </p:txBody>
      </p:sp>
      <p:sp>
        <p:nvSpPr>
          <p:cNvPr id="18" name="Chart Placeholder 10">
            <a:extLst>
              <a:ext uri="{FF2B5EF4-FFF2-40B4-BE49-F238E27FC236}">
                <a16:creationId xmlns:a16="http://schemas.microsoft.com/office/drawing/2014/main" id="{B0131088-638E-2A44-A74D-2900B64C7C2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5173327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F9FCC29-F0D0-304E-995F-33163D18DA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6875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824548-903C-7046-A2B1-1A4A470F218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0C05ED0-6CED-5A4C-9B70-32FAD61E63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722D13D-811D-A945-892A-F29F13F5710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2769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880" userDrawn="1">
          <p15:clr>
            <a:srgbClr val="FBAE40"/>
          </p15:clr>
        </p15:guide>
        <p15:guide id="4" orient="horz" pos="3024" userDrawn="1">
          <p15:clr>
            <a:srgbClr val="FBAE40"/>
          </p15:clr>
        </p15:guide>
        <p15:guide id="5" orient="horz" pos="4536" userDrawn="1">
          <p15:clr>
            <a:srgbClr val="FBAE40"/>
          </p15:clr>
        </p15:guide>
        <p15:guide id="8" orient="horz" pos="1440" userDrawn="1">
          <p15:clr>
            <a:srgbClr val="FBAE40"/>
          </p15:clr>
        </p15:guide>
        <p15:guide id="9" orient="horz" pos="1872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810AD1-3CD3-3248-98AD-7E0A36814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14E05EF-B2AD-7249-B549-5A1DF77EC3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AE03481-D227-7A4C-9313-AFFC89DFC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BB0F561-93A6-E74A-AF14-BA82FA3B712A}"/>
              </a:ext>
            </a:extLst>
          </p:cNvPr>
          <p:cNvCxnSpPr>
            <a:cxnSpLocks/>
          </p:cNvCxnSpPr>
          <p:nvPr userDrawn="1"/>
        </p:nvCxnSpPr>
        <p:spPr>
          <a:xfrm>
            <a:off x="342902" y="2133600"/>
            <a:ext cx="4714875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A5AEB9-0B74-4046-A12A-98536C351C5E}"/>
              </a:ext>
            </a:extLst>
          </p:cNvPr>
          <p:cNvCxnSpPr>
            <a:cxnSpLocks/>
          </p:cNvCxnSpPr>
          <p:nvPr userDrawn="1"/>
        </p:nvCxnSpPr>
        <p:spPr>
          <a:xfrm>
            <a:off x="5886450" y="2133600"/>
            <a:ext cx="474345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B9E514-F681-3B43-AAF7-A03BC614DCD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3101E2A-2185-A945-BAC8-2CC31125EEA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18402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8" name="Chart Placeholder 10">
            <a:extLst>
              <a:ext uri="{FF2B5EF4-FFF2-40B4-BE49-F238E27FC236}">
                <a16:creationId xmlns:a16="http://schemas.microsoft.com/office/drawing/2014/main" id="{991788D2-6434-124D-B338-6C9E13395A8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0" y="2895607"/>
            <a:ext cx="4714876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Chart Placeholder 10">
            <a:extLst>
              <a:ext uri="{FF2B5EF4-FFF2-40B4-BE49-F238E27FC236}">
                <a16:creationId xmlns:a16="http://schemas.microsoft.com/office/drawing/2014/main" id="{D0FFE140-821E-364E-B597-19750F5E80F6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5905500" y="2895607"/>
            <a:ext cx="4714876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6356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6" userDrawn="1">
          <p15:clr>
            <a:srgbClr val="FBAE40"/>
          </p15:clr>
        </p15:guide>
        <p15:guide id="3" orient="horz" pos="1344" userDrawn="1">
          <p15:clr>
            <a:srgbClr val="FBAE40"/>
          </p15:clr>
        </p15:guide>
        <p15:guide id="4" orient="horz" pos="1440" userDrawn="1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10">
            <a:extLst>
              <a:ext uri="{FF2B5EF4-FFF2-40B4-BE49-F238E27FC236}">
                <a16:creationId xmlns:a16="http://schemas.microsoft.com/office/drawing/2014/main" id="{297EF4DF-EEA0-C14B-8C81-FADDCFF31A89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2" y="2524601"/>
            <a:ext cx="4840725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0CF763CC-227B-2947-8AD7-669576A57A88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537424" y="2524606"/>
            <a:ext cx="5199458" cy="479059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2F8EC12-2E52-1D4E-8CAB-CA9D7AF178EA}"/>
              </a:ext>
            </a:extLst>
          </p:cNvPr>
          <p:cNvCxnSpPr>
            <a:cxnSpLocks/>
          </p:cNvCxnSpPr>
          <p:nvPr userDrawn="1"/>
        </p:nvCxnSpPr>
        <p:spPr>
          <a:xfrm>
            <a:off x="342902" y="4800629"/>
            <a:ext cx="5000625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4067C59-E355-0F45-815B-04000CC0F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584F696-EB57-EF4F-B9BE-DD73C5148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CC34BF5-5F1D-1B41-9DCE-569056C367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1B65A7-0666-1843-B6A6-10F76FE172DD}"/>
              </a:ext>
            </a:extLst>
          </p:cNvPr>
          <p:cNvCxnSpPr>
            <a:cxnSpLocks/>
          </p:cNvCxnSpPr>
          <p:nvPr userDrawn="1"/>
        </p:nvCxnSpPr>
        <p:spPr>
          <a:xfrm>
            <a:off x="342901" y="21336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DBD27E2-5C7A-5D49-A7D0-E7D58B4C7272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1336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407B9A0-A159-EC4C-B00A-C605D0C8CF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538647" y="2225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A00FF57-B8E8-E147-ABBA-985C8D7BD6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0847" y="2225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6" name="Chart Placeholder 10">
            <a:extLst>
              <a:ext uri="{FF2B5EF4-FFF2-40B4-BE49-F238E27FC236}">
                <a16:creationId xmlns:a16="http://schemas.microsoft.com/office/drawing/2014/main" id="{EDF3F533-F9BE-974D-9C5E-80E488BA2A49}"/>
              </a:ext>
            </a:extLst>
          </p:cNvPr>
          <p:cNvSpPr>
            <a:spLocks noGrp="1"/>
          </p:cNvSpPr>
          <p:nvPr>
            <p:ph type="chart" sz="quarter" idx="63"/>
          </p:nvPr>
        </p:nvSpPr>
        <p:spPr>
          <a:xfrm>
            <a:off x="342902" y="5191601"/>
            <a:ext cx="4840725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D5F5424-E1F2-3C47-948D-7F84DFAD3AE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0847" y="4892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3430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  <p15:guide id="2" orient="horz" pos="2952" userDrawn="1">
          <p15:clr>
            <a:srgbClr val="FBAE40"/>
          </p15:clr>
        </p15:guide>
        <p15:guide id="3" orient="horz" pos="1584" userDrawn="1">
          <p15:clr>
            <a:srgbClr val="FBAE40"/>
          </p15:clr>
        </p15:guide>
        <p15:guide id="4" orient="horz" pos="3264" userDrawn="1">
          <p15:clr>
            <a:srgbClr val="FBAE40"/>
          </p15:clr>
        </p15:guide>
        <p15:guide id="5" pos="3258" userDrawn="1">
          <p15:clr>
            <a:srgbClr val="FBAE40"/>
          </p15:clr>
        </p15:guide>
        <p15:guide id="7" pos="6768" userDrawn="1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4FD1F37D-CDDB-0F40-8024-6FE33232572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42900" y="1600200"/>
            <a:ext cx="9886950" cy="57531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9B492A2-E489-124B-8590-6C0A7F3E0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6EEC542-18BA-B24E-807C-41CBBF20EE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79F894B-1FED-1245-97AE-8AB3F133AB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11676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64" userDrawn="1">
          <p15:clr>
            <a:srgbClr val="FBAE40"/>
          </p15:clr>
        </p15:guide>
        <p15:guide id="2" orient="horz" pos="1008" userDrawn="1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15">
            <a:extLst>
              <a:ext uri="{FF2B5EF4-FFF2-40B4-BE49-F238E27FC236}">
                <a16:creationId xmlns:a16="http://schemas.microsoft.com/office/drawing/2014/main" id="{70330F66-71DD-C040-9AEE-D6C10A76785F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42900" y="2286000"/>
            <a:ext cx="10287000" cy="4610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C53B2-5349-1947-8C1E-E58DFF586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3F88C7F-CC0C-0D45-A8CC-A87557038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CEE5879-8659-2C46-8C0E-6E341E7CC1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1754244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76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3" orient="horz" pos="4344" userDrawn="1">
          <p15:clr>
            <a:srgbClr val="FBAE40"/>
          </p15:clr>
        </p15:guide>
        <p15:guide id="4" pos="682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49F6C18-672B-6D42-AB0F-130596F63B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228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AE060BD-0D8D-AC48-B242-3D34AEB41A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338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E65A059-C9EF-5943-BA43-199F504186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741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959E8D8-29F1-5349-9971-B3AA686A06A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85694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1C7E403-B04F-3848-AA7A-F9B6DFE9E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4E65AF74-1A2C-7942-BD65-558510A5D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FC0581F5-3E5A-DA48-881F-B8EFB4BB92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Next Step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965E4C8F-20DC-F14A-B44E-3F7E87F1F1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71228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DC419921-BA25-2B4A-9CB5-A793190FC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6338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1D1A00A-B705-8E43-8323-117F0DB240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6741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2D523B49-04C1-A14E-A925-C8DD012D948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1228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EE1E5A43-18B8-1C49-9497-4F8D82728F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26338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456B82D8-A834-8946-B02E-1F7D9A55D72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26741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1" name="Text Placeholder 6">
            <a:extLst>
              <a:ext uri="{FF2B5EF4-FFF2-40B4-BE49-F238E27FC236}">
                <a16:creationId xmlns:a16="http://schemas.microsoft.com/office/drawing/2014/main" id="{56DA5C01-615A-3643-BC66-AE15D94EDC1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39663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25CCAAA3-6015-3F4B-B023-B81444EFE0A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884835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A5E5A7AE-63E1-784A-87DD-1DE0312E4F9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85237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6809CFD5-9BE2-8045-BD0C-E698D422FFE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744190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C8957327-30F9-B749-8498-2440755D3C5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39663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86D19F5B-2AB4-D249-BE7E-FD771DA3201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884835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F4EB2C70-48DD-D944-B694-9F7B7CD69C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85237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64897C1A-999F-9D4B-A596-4F9CAACDD00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39663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8D397C40-4DC5-4445-B464-53C3CB07C93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884835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113D492-3C03-3645-A76F-9EEF73E411B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85237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D2FC71B6-5562-404E-B4B3-00BEDAA72A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125090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0DB6E01-C880-7341-8958-191BE9B1D83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380202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A5643017-2779-164D-98A0-86FBA4A1A74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80605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0BDBF304-9ADB-074D-AFB5-3D74DEF9947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239559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9444EB5-1948-0849-9BC7-58738B23599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125090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8BCF6EE2-7E27-6E45-AF82-5B17571C46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80202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15770356-D330-744A-90AC-0ACD21FF99F1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380605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101" name="Text Placeholder 6">
            <a:extLst>
              <a:ext uri="{FF2B5EF4-FFF2-40B4-BE49-F238E27FC236}">
                <a16:creationId xmlns:a16="http://schemas.microsoft.com/office/drawing/2014/main" id="{397FDE7A-50BE-F845-B7E5-28121B8F2C2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125090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02" name="Text Placeholder 4">
            <a:extLst>
              <a:ext uri="{FF2B5EF4-FFF2-40B4-BE49-F238E27FC236}">
                <a16:creationId xmlns:a16="http://schemas.microsoft.com/office/drawing/2014/main" id="{A60858A7-F957-354C-A57C-6D17B5A8F2D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380202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AA3D5DC1-FBB5-9342-A859-51F4F92639D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380605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1068842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orient="horz" pos="1920" userDrawn="1">
          <p15:clr>
            <a:srgbClr val="FBAE40"/>
          </p15:clr>
        </p15:guide>
        <p15:guide id="3" orient="horz" pos="2304" userDrawn="1">
          <p15:clr>
            <a:srgbClr val="FBAE40"/>
          </p15:clr>
        </p15:guide>
        <p15:guide id="4" orient="horz" pos="2784" userDrawn="1">
          <p15:clr>
            <a:srgbClr val="FBAE40"/>
          </p15:clr>
        </p15:guide>
        <p15:guide id="5" orient="horz" pos="3264" userDrawn="1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4104D62-73E6-5B42-BD35-00CF80AE5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526" y="1549400"/>
            <a:ext cx="8327135" cy="624535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51329D8A-67D3-DA48-AE3F-2E65C6CEB0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4015" y="382368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94CF4528-465A-B44E-AA97-0546ACEC53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7003" y="382368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76DCCC1C-1103-CD46-9BD1-BD2B7DC0B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198" y="5923057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C2AC456B-3A6A-194A-B655-9BEBD5781A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186" y="5923057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C489074A-EA72-8747-B5E6-F943B42198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83184" y="4263200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C717E74A-F4BB-F543-878B-EFFCC950D6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26172" y="4263200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4446F7A9-B883-6C45-8B65-1AB08F48BF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87294" y="5905448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2" name="Text Placeholder 14">
            <a:extLst>
              <a:ext uri="{FF2B5EF4-FFF2-40B4-BE49-F238E27FC236}">
                <a16:creationId xmlns:a16="http://schemas.microsoft.com/office/drawing/2014/main" id="{1ED9D119-EA92-2040-808F-0BF5119B40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0282" y="5905448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317502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692" userDrawn="1">
          <p15:clr>
            <a:srgbClr val="FBAE40"/>
          </p15:clr>
        </p15:guide>
        <p15:guide id="5" pos="1620" userDrawn="1">
          <p15:clr>
            <a:srgbClr val="FBAE40"/>
          </p15:clr>
        </p15:guide>
        <p15:guide id="6" orient="horz" pos="1032" userDrawn="1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D4C399B-3FBF-054B-8D28-B5E6D783C4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980" y="1450244"/>
            <a:ext cx="8757666" cy="65682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19491" y="7612690"/>
            <a:ext cx="277554" cy="174679"/>
          </a:xfr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09879" y="7615599"/>
            <a:ext cx="3703320" cy="218918"/>
          </a:xfr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993E778B-ECC0-134B-87AC-D2B442A710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910" y="38576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1350" b="1" i="0" dirty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Title He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0E88AA6E-E383-4D47-AA7A-D58DBAD68A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413" y="38576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3726C250-E818-6C4A-8840-F45CD72DC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1760" y="60547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F61BBF6-510D-884F-98C3-11B80AF72E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1263" y="60547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3D512553-3B7E-574B-BF8F-64364FF8E9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34941" y="59531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AB7CB3EF-698A-0444-851E-DCED8E0B636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4444" y="59531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EA9C0B7B-B9D8-C444-9C94-17EE39A248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50579" y="42894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926480A5-4ACF-7440-95FF-F63734BD7C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0082" y="42894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023706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272" userDrawn="1">
          <p15:clr>
            <a:srgbClr val="FBAE40"/>
          </p15:clr>
        </p15:guide>
        <p15:guide id="3" orient="horz" pos="2592" userDrawn="1">
          <p15:clr>
            <a:srgbClr val="FBAE40"/>
          </p15:clr>
        </p15:guide>
        <p15:guide id="4" orient="horz" pos="3888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pos="5778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_EQB_02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A5573-0A43-9740-BE2E-B408A1454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B3C8A5C-1A5C-4848-BBF7-A155F824D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AF9C990-CB83-415E-B713-027575BD1E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5616" y="3127400"/>
            <a:ext cx="3401568" cy="197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31197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lide_EQB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BB6CAF3-DFB1-E64C-A3A7-9DD64C066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373" y="2975959"/>
            <a:ext cx="10302058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60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0268A6-51AA-EC49-B574-D5C38D87E5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8E81514-2758-CB49-A367-75BD3A59B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7EEA3BB-9DF6-2740-85AD-76D22B6E3889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18780926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EQB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539E5ED-6D1D-1F46-B752-48310B75A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6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85000"/>
              </a:lnSpc>
              <a:buNone/>
              <a:defRPr sz="600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 Her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249FBCE-25EE-AD47-9D91-00BEACCB35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7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B95BF2-7A5F-EF44-9BA4-C0BF16711D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5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42FD609-AF7B-41ED-BC87-9DBAD2E60B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9996" y="671520"/>
            <a:ext cx="1892808" cy="10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8130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3E93E3C-8850-C746-8B80-26AB503292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51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Section Title He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5FD2F7-360C-EB48-9E5E-E9E9C1CEAA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DB8C44D-A4C4-424F-B506-8A8D714C2B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70439566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DC5DEFF-DF4D-8F4E-933C-542362FED5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02920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Plex Sans Light" panose="020B0403050000000000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50B0D1-0C9D-624A-9F21-E20643433F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9B10177-CC44-8C47-8D0E-F72734A81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73C0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4D911AD-1037-E842-93B2-0783C91175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E34AEB90-AA0C-3E4C-A502-88A2543AE8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261825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70F1CF1-190E-D04C-B754-73CA21E113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CB514DA-CD07-F544-9B85-5F93F1704E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16FFEE-BBC8-DD42-806B-070FB8BB2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A155C0-57F6-0342-A9B6-29220FA83E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06142835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5BD66A3-0EDE-C940-9AFE-0C44154DCB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D8B1B1-53FF-7846-B33B-C48FA774DA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0229" y="7620500"/>
            <a:ext cx="297575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B305FC-CE85-9C4D-9496-9E13F5A46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10718" y="7517567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3A63EE-7B5E-AC41-AF30-A8329D900C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499294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2809DAA-26DF-5B49-97D5-55F4E679A3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78F75C61-183D-EF4C-9121-F45C77D48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73C0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000963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4794C84-E508-5D48-991B-AAF4D51C70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DEC2ED5-F426-9043-BFB3-17DFE08D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068CD4-070E-8A4A-80E7-B747C9F15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D53B226-C0E3-8143-9553-0819E57E80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0837731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04949F9-5C16-D948-BC73-F6925A668F95}"/>
              </a:ext>
            </a:extLst>
          </p:cNvPr>
          <p:cNvCxnSpPr>
            <a:cxnSpLocks/>
          </p:cNvCxnSpPr>
          <p:nvPr userDrawn="1"/>
        </p:nvCxnSpPr>
        <p:spPr>
          <a:xfrm flipV="1">
            <a:off x="475112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06D1E39-48CB-8244-A02E-DAF14DEB8FC0}"/>
              </a:ext>
            </a:extLst>
          </p:cNvPr>
          <p:cNvCxnSpPr>
            <a:cxnSpLocks/>
          </p:cNvCxnSpPr>
          <p:nvPr userDrawn="1"/>
        </p:nvCxnSpPr>
        <p:spPr>
          <a:xfrm flipV="1">
            <a:off x="742379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1E1E964-BB35-C14B-A64D-4257241E81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989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0BFFCA26-434C-CE4E-A257-6806FE4B47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053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1C953F-B03B-6646-AB55-F7BF6F3A3264}"/>
              </a:ext>
            </a:extLst>
          </p:cNvPr>
          <p:cNvSpPr/>
          <p:nvPr userDrawn="1"/>
        </p:nvSpPr>
        <p:spPr>
          <a:xfrm>
            <a:off x="342902" y="3770771"/>
            <a:ext cx="10302057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26B1D1D-E92C-1D4B-ACAF-EB15342A29BC}"/>
              </a:ext>
            </a:extLst>
          </p:cNvPr>
          <p:cNvSpPr>
            <a:spLocks noChangeAspect="1"/>
          </p:cNvSpPr>
          <p:nvPr userDrawn="1"/>
        </p:nvSpPr>
        <p:spPr>
          <a:xfrm>
            <a:off x="380628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8C676B9-4875-244A-8656-0AEF21A85369}"/>
              </a:ext>
            </a:extLst>
          </p:cNvPr>
          <p:cNvCxnSpPr>
            <a:cxnSpLocks/>
          </p:cNvCxnSpPr>
          <p:nvPr userDrawn="1"/>
        </p:nvCxnSpPr>
        <p:spPr>
          <a:xfrm flipV="1">
            <a:off x="192286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0992D0-9D94-FE43-9FF9-C15BA40AC4E1}"/>
              </a:ext>
            </a:extLst>
          </p:cNvPr>
          <p:cNvCxnSpPr>
            <a:cxnSpLocks/>
          </p:cNvCxnSpPr>
          <p:nvPr userDrawn="1"/>
        </p:nvCxnSpPr>
        <p:spPr>
          <a:xfrm flipH="1">
            <a:off x="488581" y="4052776"/>
            <a:ext cx="3155" cy="671624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AA4926A-FE88-5343-9825-033975560D10}"/>
              </a:ext>
            </a:extLst>
          </p:cNvPr>
          <p:cNvCxnSpPr>
            <a:cxnSpLocks/>
          </p:cNvCxnSpPr>
          <p:nvPr userDrawn="1"/>
        </p:nvCxnSpPr>
        <p:spPr>
          <a:xfrm flipH="1">
            <a:off x="3309340" y="4052776"/>
            <a:ext cx="2810" cy="671624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A5B14E9-673D-8748-8CBB-1D150B6054D1}"/>
              </a:ext>
            </a:extLst>
          </p:cNvPr>
          <p:cNvCxnSpPr>
            <a:cxnSpLocks/>
          </p:cNvCxnSpPr>
          <p:nvPr userDrawn="1"/>
        </p:nvCxnSpPr>
        <p:spPr>
          <a:xfrm>
            <a:off x="6175886" y="3898610"/>
            <a:ext cx="0" cy="82579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026C9E-393D-004E-8ABE-7B5F64C3B378}"/>
              </a:ext>
            </a:extLst>
          </p:cNvPr>
          <p:cNvCxnSpPr>
            <a:cxnSpLocks/>
          </p:cNvCxnSpPr>
          <p:nvPr userDrawn="1"/>
        </p:nvCxnSpPr>
        <p:spPr>
          <a:xfrm>
            <a:off x="8729275" y="3898610"/>
            <a:ext cx="0" cy="82579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F876BA71-DB75-D143-9D78-E4418F55A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F3414ABB-41DD-C349-9DD9-A378E75F15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A0AD528-8BA5-4745-83BE-4E8596B126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EDA40E52-AB06-4443-80A9-C39069B6BB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727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FABF79A3-EBA3-A242-A87F-1CDB425F10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80791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E5A97EB3-CB01-9B47-93D7-7E36048049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4341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A95A14F7-38FE-8543-8DB1-37012A6014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87408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CEFF965D-181D-F644-AFEE-6980A9931E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3756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042AF19-B4A7-FB4C-A07D-68BB76B2F4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6823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CBFC5376-560E-D041-BD45-F5ADBFD1A2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44555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5CA867F4-5F30-9744-AB97-BB45337E5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7622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E88768E5-50B0-CA4E-BC1C-329BBA48E3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3852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4A5C5E22-88C9-5548-8A7D-64A398F4A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46919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FD9B511B-820B-D044-BD30-96B0BC717A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76189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580CCF4D-777C-E94B-8FCB-750BEEE760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99256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71D9E360-840C-C14E-9E34-91B52C55EB8E}"/>
              </a:ext>
            </a:extLst>
          </p:cNvPr>
          <p:cNvSpPr>
            <a:spLocks noChangeAspect="1"/>
          </p:cNvSpPr>
          <p:nvPr userDrawn="1"/>
        </p:nvSpPr>
        <p:spPr>
          <a:xfrm>
            <a:off x="181333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D190410-9AAD-414A-9592-A1812AA459ED}"/>
              </a:ext>
            </a:extLst>
          </p:cNvPr>
          <p:cNvSpPr>
            <a:spLocks noChangeAspect="1"/>
          </p:cNvSpPr>
          <p:nvPr userDrawn="1"/>
        </p:nvSpPr>
        <p:spPr>
          <a:xfrm>
            <a:off x="3201216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7F85F4E-C6D0-054E-B77C-C539A61F98F8}"/>
              </a:ext>
            </a:extLst>
          </p:cNvPr>
          <p:cNvSpPr>
            <a:spLocks noChangeAspect="1"/>
          </p:cNvSpPr>
          <p:nvPr userDrawn="1"/>
        </p:nvSpPr>
        <p:spPr>
          <a:xfrm>
            <a:off x="464159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12AEBB64-3484-1C41-A0D9-3B06C5A2E958}"/>
              </a:ext>
            </a:extLst>
          </p:cNvPr>
          <p:cNvSpPr>
            <a:spLocks noChangeAspect="1"/>
          </p:cNvSpPr>
          <p:nvPr userDrawn="1"/>
        </p:nvSpPr>
        <p:spPr>
          <a:xfrm>
            <a:off x="6066357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14D986E9-B2C4-9842-80E7-2623847DED17}"/>
              </a:ext>
            </a:extLst>
          </p:cNvPr>
          <p:cNvSpPr>
            <a:spLocks noChangeAspect="1"/>
          </p:cNvSpPr>
          <p:nvPr userDrawn="1"/>
        </p:nvSpPr>
        <p:spPr>
          <a:xfrm>
            <a:off x="731426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B385FB9-DF96-5F48-A3C0-6D2C693FE84F}"/>
              </a:ext>
            </a:extLst>
          </p:cNvPr>
          <p:cNvSpPr>
            <a:spLocks noChangeAspect="1"/>
          </p:cNvSpPr>
          <p:nvPr userDrawn="1"/>
        </p:nvSpPr>
        <p:spPr>
          <a:xfrm>
            <a:off x="8619747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77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728" userDrawn="1">
          <p15:clr>
            <a:srgbClr val="FBAE40"/>
          </p15:clr>
        </p15:guide>
        <p15:guide id="5" orient="horz" pos="3360" userDrawn="1">
          <p15:clr>
            <a:srgbClr val="FBAE40"/>
          </p15:clr>
        </p15:guide>
        <p15:guide id="6" orient="horz" pos="3096" userDrawn="1">
          <p15:clr>
            <a:srgbClr val="FBAE40"/>
          </p15:clr>
        </p15:guide>
        <p15:guide id="7" pos="1206" userDrawn="1">
          <p15:clr>
            <a:srgbClr val="FBAE40"/>
          </p15:clr>
        </p15:guide>
        <p15:guide id="8" pos="2088" userDrawn="1">
          <p15:clr>
            <a:srgbClr val="FBAE40"/>
          </p15:clr>
        </p15:guide>
        <p15:guide id="9" pos="2988" userDrawn="1">
          <p15:clr>
            <a:srgbClr val="FBAE40"/>
          </p15:clr>
        </p15:guide>
        <p15:guide id="10" pos="306" userDrawn="1">
          <p15:clr>
            <a:srgbClr val="FBAE40"/>
          </p15:clr>
        </p15:guide>
        <p15:guide id="11" pos="3888" userDrawn="1">
          <p15:clr>
            <a:srgbClr val="FBAE40"/>
          </p15:clr>
        </p15:guide>
        <p15:guide id="12" pos="4770" userDrawn="1">
          <p15:clr>
            <a:srgbClr val="FBAE40"/>
          </p15:clr>
        </p15:guide>
        <p15:guide id="13" orient="horz" pos="2376" userDrawn="1">
          <p15:clr>
            <a:srgbClr val="FBAE40"/>
          </p15:clr>
        </p15:guide>
        <p15:guide id="14" orient="horz" pos="1920" userDrawn="1">
          <p15:clr>
            <a:srgbClr val="FBAE40"/>
          </p15:clr>
        </p15:guide>
        <p15:guide id="15" orient="horz" pos="3000" userDrawn="1">
          <p15:clr>
            <a:srgbClr val="FBAE40"/>
          </p15:clr>
        </p15:guide>
        <p15:guide id="17" pos="5670" userDrawn="1">
          <p15:clr>
            <a:srgbClr val="FBAE40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B9916-33A5-F845-9B53-350A76D40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0229" y="7620500"/>
            <a:ext cx="297575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C9064A-C798-FE4D-981A-1D4C6367E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10718" y="7517567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BC9AD28-0C12-6644-8CBE-0959C72CA3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0"/>
            <a:ext cx="5490686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marR="0" indent="0" algn="ctr" defTabSz="82292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8F6FF84-D854-EA44-9D0E-A499B83FD5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E8D5EE4-D590-8844-B0D8-8876B8E0AC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408773255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9BD7DA-3207-8440-A6E1-4855224A2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C8160-20C6-E943-A92B-B30D19CB7B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DB2FA80-B6CF-8F42-A2D3-A2CA70DE2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64080970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76BE2EB-7844-CC4A-A2D4-71E7754B56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BA6FC5-8E36-5A44-B3BC-47360495D3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70" y="-147890"/>
            <a:ext cx="1371600" cy="18288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457D4C-A279-8447-B589-1347DD4B9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6F93BC9-D559-6142-B163-CAE4B02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02139905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866E1F3-4609-0640-AD1B-2F672B8B8E10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0DC03F-BC76-6843-947D-9AC312F7898F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420E7E7-DD61-044F-8ED4-E50CB9288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21364" y="30701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8.5 bn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DC0626-E8A0-CC44-B39F-BADA08786F58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4D519E8D-D528-264C-B18E-C97E841908B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2D9F6F1A-5F61-7F4C-AD28-CE1C6274B4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3193676-CE7F-014B-8984-394F01AFD7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A4C2A17-7BBD-B443-BB9F-8D2F027BAC4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71972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82A2387-3CB5-2B47-9852-686F85A316AD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DA70AE5-180D-EF44-89AF-B6EBEF9AB7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FD565EAE-E121-4A42-A387-679C3C7CB24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FFAB77-0A1A-B048-A12C-5CA16F89471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6A1CE6-8C86-9A48-8465-BD6367E411E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6172"/>
            <a:ext cx="2634680" cy="3721598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C7287D5-11DD-5B4A-8097-9F078F3AA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E93B38B8-5AEF-0348-9075-45E2BACBD9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387657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 userDrawn="1">
          <p15:clr>
            <a:srgbClr val="FBAE40"/>
          </p15:clr>
        </p15:guide>
        <p15:guide id="2" pos="3492" userDrawn="1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FD3CAC5-B928-1E43-985B-1CDAAED26F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5D9F62-74D1-F84E-8D16-FD3617B440A5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72EA457-55F2-2B45-87E1-23BED43E31C9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3AEC4A-DA82-F346-87B6-8439448FB08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FAA45053-AF9A-8A42-8C1C-B1D59EDAB8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93818ED-5294-A94D-9F3C-F2FC141FB85E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A8C42AC-F045-5143-A125-4529C9C5D66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D308CE3-5995-5340-BD37-E4001D0AC95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0489F57-D1D5-ED43-8741-6354365AFA9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323367B-FA48-F84A-AE52-85D29A5ED26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2">
            <a:extLst>
              <a:ext uri="{FF2B5EF4-FFF2-40B4-BE49-F238E27FC236}">
                <a16:creationId xmlns:a16="http://schemas.microsoft.com/office/drawing/2014/main" id="{91CE0284-FE07-B042-AC13-8591B4DAB1F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5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47AEE74-3902-2F41-975F-AB8C18C5646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71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B11DF6E8-BA8F-A343-A9A7-26D4F9BB7FA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546276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DF6B51-11AC-704A-97B2-A04FBFC4E4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38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BF62093-8215-604A-88E7-A23A609BEA61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0B543A9-50A9-B24A-AB3D-59895EEEF15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4"/>
            <a:ext cx="2634680" cy="3721606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D3F08A0-4A63-E244-ABDD-976D88B060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2340C9E0-1D03-4E4A-BA3B-85A03C2A01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8258657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3B957D0-7A04-AA42-B0A7-4D42C6A01B0D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13EA62-46A0-C048-B111-C692D2727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5831" y="33125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DB292C36-D2BD-D84C-BECF-935BEE8C31F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3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6874B26-F31F-F748-8186-544B9E8273D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42139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594E4948-6C0F-1743-8F69-87F2985AB1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2FA3CFD-1383-E740-9B0C-2EEDCB17EB27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B563A6A-5F52-F347-B158-2A50E23F9BB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AAFD104-7C5A-E948-ABC9-F2215834BD4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9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62F5F7C-E1B9-0647-AF32-20A80D7CACF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830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19A404B-667A-874A-8471-30221F0436B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34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E3CCEC4-FA0D-664B-BCFD-0E4E3D7AFA3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159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61C1FAB-2D6B-A34C-B965-2635360CD2C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830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B6893E18-66C7-114D-A9EE-1EDDCCF757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9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81AA2E14-F288-D84C-BC8D-723D2B5DC5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EBF9A7CB-BD6D-C549-8D16-F85A877388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50EC673-7D97-6A44-B5BB-6FE42552ADA7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025D663-6FA1-5C4B-997B-5ADE626717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98CE7A7-D98D-9F44-8E94-6A145036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860315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pos="2448" userDrawn="1">
          <p15:clr>
            <a:srgbClr val="FBAE40"/>
          </p15:clr>
        </p15:guide>
        <p15:guide id="3" pos="4625" userDrawn="1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4B44A06D-1DA3-5343-B222-543919237BC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10972800" cy="8229600"/>
          </a:xfrm>
          <a:prstGeom prst="rect">
            <a:avLst/>
          </a:prstGeom>
        </p:spPr>
        <p:txBody>
          <a:bodyPr anchor="ctr"/>
          <a:lstStyle>
            <a:lvl1pPr marL="0" marR="0" indent="0" algn="ctr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image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D63682A-316C-EA44-827A-3E6C506639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D4C6B07-9A7A-A142-A800-18293A6956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45B3894-6357-E847-8D11-6A4DA2DD83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860EC1C9-4D19-C046-9E31-4EA4C9EE1E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3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02A9129-0660-CD46-A219-B840D39917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3" y="3397650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t abo.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8411E9FF-8F2B-FF45-B5E5-30DC5B2251F3}"/>
              </a:ext>
            </a:extLst>
          </p:cNvPr>
          <p:cNvSpPr txBox="1">
            <a:spLocks/>
          </p:cNvSpPr>
          <p:nvPr userDrawn="1"/>
        </p:nvSpPr>
        <p:spPr>
          <a:xfrm>
            <a:off x="352044" y="7612677"/>
            <a:ext cx="1733932" cy="22184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FFFFFF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20" dirty="0">
              <a:latin typeface="IBM Eliot Sans Medium" panose="020B070305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9552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 userDrawn="1">
          <p15:clr>
            <a:srgbClr val="FBAE40"/>
          </p15:clr>
        </p15:guide>
        <p15:guide id="2" orient="horz" pos="2208" userDrawn="1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3A56F3F-3B95-2C48-AA04-EE83014629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2352" y="1545340"/>
            <a:ext cx="8332470" cy="6249353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7FA2F48-D94E-F746-975E-497A7E787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4FDAB7-518D-FB45-8952-11E914DCA5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4930" y="346588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0051A0-C26A-6740-BCCD-37161553B4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918" y="346588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C647649-F2DF-2247-8BBC-D4099C1638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930" y="608208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E67F552-031C-2149-81E4-A270C4D5FC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918" y="608208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810C657-DEED-D642-9507-F5CCD842A2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06666" y="3925274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67F1B28-92B9-A441-B22A-1626A925EF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49654" y="3925274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25A3D71-DB0A-C041-876A-04CBBFDFEA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80402" y="5686790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764867-989C-AE4D-A868-A26D5448D7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23390" y="5686790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C35F52A-02BE-8D48-8796-6EF9D30F1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6D159EA-B9B8-894D-A6C4-2EAA44864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09422882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270329-E48C-584A-8D9E-A0256F6089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980" y="1453896"/>
            <a:ext cx="8757666" cy="656825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48540CD-AA9F-C142-9158-E73E8A97C9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DF7846F-EB15-0949-A39B-D57E8F47E3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6843" y="38576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CC2A54B3-2F8C-1A40-B7CB-05B79A702E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6609" y="38576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7F9853B-35CD-AE43-BCF7-0762A2692A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21693" y="60547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4769082-203C-D945-A5A8-915FA88B65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59" y="60547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C5E74914-8360-234F-9206-56B6C622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51830" y="59531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41D87EE-3D8C-A245-8D18-D8F0C2E368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278" y="59531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DB9A65C1-CA3B-8445-A62C-8ACDE32DAFF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51830" y="42894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EED265C-8845-FC48-96B3-6771743EC3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00278" y="42894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C53045E-983F-F84B-B049-87D0C80FC7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329E02F2-CA2F-624C-B91D-28BBB479E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09029717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EQB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BB6CAF3-DFB1-E64C-A3A7-9DD64C066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373" y="2975959"/>
            <a:ext cx="10302058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60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0268A6-51AA-EC49-B574-D5C38D87E5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8E81514-2758-CB49-A367-75BD3A59B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7EEA3BB-9DF6-2740-85AD-76D22B6E3889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5030879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4B62D430-3622-F944-8030-6A8F1702A9AA}"/>
              </a:ext>
            </a:extLst>
          </p:cNvPr>
          <p:cNvSpPr/>
          <p:nvPr userDrawn="1"/>
        </p:nvSpPr>
        <p:spPr>
          <a:xfrm>
            <a:off x="342902" y="3772557"/>
            <a:ext cx="10302057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66E90B9-8C95-6343-825C-E62C17A912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5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2F36EC5D-3297-5A42-828A-45B71BD1AF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54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A6340B-A70E-6F40-BE52-184289247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55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6C1D83D-A1B9-DE45-8FA3-F7858C2331AD}"/>
              </a:ext>
            </a:extLst>
          </p:cNvPr>
          <p:cNvGrpSpPr/>
          <p:nvPr userDrawn="1"/>
        </p:nvGrpSpPr>
        <p:grpSpPr>
          <a:xfrm>
            <a:off x="2941690" y="3742365"/>
            <a:ext cx="129092" cy="332320"/>
            <a:chOff x="3237268" y="2942083"/>
            <a:chExt cx="192553" cy="371766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3CF5AED-830E-1048-8ACE-5F69D17C6FEB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F813389-9B03-514C-AE4E-465F459D64E9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BEA43C26-B1EF-6648-9CC6-CFB1FA869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329031D6-4137-624A-BE65-3322D8DA9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C2414C1-54C0-C94B-9BC0-67C132C49A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54A16AA9-D999-6340-B30C-C3FF62A850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03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CC22A516-DCEB-E14E-A7DC-5023D339FB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034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BF80794-4F55-3D45-80B7-D1BBC0FAE2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035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05576ED1-0F9A-C64C-9C33-80A46C39B4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019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B62556C-5980-2147-816C-750E70BD0B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019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552DAF1-DF41-5A48-97D1-23DF191BA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8020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273E1958-B8AA-5346-8CD5-CB0E6A3D65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23372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3C3ABA36-8BC4-F84B-BA4A-7B8469D974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372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7146BB8-C634-B04A-A59D-E158C3D07A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23381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D94545F-B896-DA4A-9C9E-67D1A40FFFB8}"/>
              </a:ext>
            </a:extLst>
          </p:cNvPr>
          <p:cNvGrpSpPr/>
          <p:nvPr userDrawn="1"/>
        </p:nvGrpSpPr>
        <p:grpSpPr>
          <a:xfrm>
            <a:off x="5546197" y="3742365"/>
            <a:ext cx="129092" cy="332320"/>
            <a:chOff x="3237268" y="2942083"/>
            <a:chExt cx="192553" cy="371766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CE0664B-4083-3E4F-859C-FA8AB2062871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0213AF2-CE79-F14F-9B5F-30325124201A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1D054C1-A28A-6C40-8DA9-AF4BD32A9B4B}"/>
              </a:ext>
            </a:extLst>
          </p:cNvPr>
          <p:cNvGrpSpPr/>
          <p:nvPr userDrawn="1"/>
        </p:nvGrpSpPr>
        <p:grpSpPr>
          <a:xfrm>
            <a:off x="8074504" y="3742365"/>
            <a:ext cx="129092" cy="332320"/>
            <a:chOff x="3237268" y="2942083"/>
            <a:chExt cx="192553" cy="371766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C317751-A226-4B4F-964E-EA37D4EF133D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B42E7E1-2968-604F-8D00-DA7500C3B365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94138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  <p15:guide id="2" orient="horz" pos="3000" userDrawn="1">
          <p15:clr>
            <a:srgbClr val="FBAE40"/>
          </p15:clr>
        </p15:guide>
        <p15:guide id="3" pos="1854" userDrawn="1">
          <p15:clr>
            <a:srgbClr val="FBAE40"/>
          </p15:clr>
        </p15:guide>
        <p15:guide id="4" pos="3492" userDrawn="1">
          <p15:clr>
            <a:srgbClr val="FBAE40"/>
          </p15:clr>
        </p15:guide>
        <p15:guide id="5" pos="5094" userDrawn="1">
          <p15:clr>
            <a:srgbClr val="FBAE40"/>
          </p15:clr>
        </p15:guide>
        <p15:guide id="6" orient="horz" pos="2592" userDrawn="1">
          <p15:clr>
            <a:srgbClr val="FBAE40"/>
          </p15:clr>
        </p15:guide>
        <p15:guide id="7" orient="horz" pos="3288" userDrawn="1">
          <p15:clr>
            <a:srgbClr val="FBAE40"/>
          </p15:clr>
        </p15:guide>
        <p15:guide id="8" orient="horz" pos="3456" userDrawn="1">
          <p15:clr>
            <a:srgbClr val="FBAE40"/>
          </p15:clr>
        </p15:guide>
        <p15:guide id="9" orient="horz" pos="2448" userDrawn="1">
          <p15:clr>
            <a:srgbClr val="FBAE40"/>
          </p15:clr>
        </p15:guide>
        <p15:guide id="10" orient="horz" pos="2472" userDrawn="1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EQB_02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A5573-0A43-9740-BE2E-B408A1454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B3C8A5C-1A5C-4848-BBF7-A155F824D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6728D9B-0EAB-4DA2-87F6-BF73BE8422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5616" y="3127400"/>
            <a:ext cx="3401568" cy="197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71045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A97AE83C-BB17-4853-95ED-0D5814379EA8}"/>
              </a:ext>
            </a:extLst>
          </p:cNvPr>
          <p:cNvSpPr/>
          <p:nvPr userDrawn="1"/>
        </p:nvSpPr>
        <p:spPr>
          <a:xfrm>
            <a:off x="0" y="2286000"/>
            <a:ext cx="10972800" cy="5029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chemeClr val="tx2"/>
              </a:solidFill>
              <a:latin typeface="IBM Eliot Sans Medium" panose="020B0703050000000000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0" y="4627344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6DC2001-AC0D-3F41-87FE-27FD1320B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5490716" y="2021304"/>
            <a:ext cx="0" cy="521208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154584" y="2021304"/>
            <a:ext cx="0" cy="521208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id="{FA7C2E4F-5A3D-FE46-B30F-595E936418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chemeClr val="bg2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C97F4025-1428-E848-AB50-95898C85EE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chemeClr val="bg2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6A745FEC-0DCE-D347-A303-F04698E051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chemeClr val="bg2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5E99F75-E396-854D-A64C-EFF76DC40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4C5EE9B-493D-B04D-A576-C96F91A0BB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705B5911-3B2D-CC4C-874A-11225C04D0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11D8F1D-5590-9C4F-809E-6F6E152836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BA4ADCC-84A0-AE45-8374-C9C0D3F611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991205A-62B3-A64A-88D3-52FA74BEEE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F815BA2-DF20-C347-B889-CB5E7C4A0CE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5A7E8000-DC19-1D4F-9A5E-531B5751FC8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43BB231-9E79-B948-B4DC-6003601A93E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4DAE56D6-9E95-A649-B4C9-07D39FCA89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BA30A8D-AE69-6D4A-901B-2CA3F13538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9B4A676C-3C2C-754D-A494-C95EA23B9A5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6D2C611-C7BC-2445-B6E1-D6F2CE80DF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B05ACC63-2749-C44E-AF5C-7AEA316C91A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6AF4496-A798-E14B-B314-8070E237250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chemeClr val="tx2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3C29D39F-8C88-4EA6-88BE-77BB584C11E7}"/>
              </a:ext>
            </a:extLst>
          </p:cNvPr>
          <p:cNvCxnSpPr/>
          <p:nvPr userDrawn="1"/>
        </p:nvCxnSpPr>
        <p:spPr>
          <a:xfrm>
            <a:off x="2686050" y="2021304"/>
            <a:ext cx="0" cy="521208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077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2" userDrawn="1">
          <p15:clr>
            <a:srgbClr val="FBAE40"/>
          </p15:clr>
        </p15:guide>
        <p15:guide id="2" pos="3690" userDrawn="1">
          <p15:clr>
            <a:srgbClr val="FBAE40"/>
          </p15:clr>
        </p15:guide>
        <p15:guide id="3" pos="5418" userDrawn="1">
          <p15:clr>
            <a:srgbClr val="FBAE40"/>
          </p15:clr>
        </p15:guide>
        <p15:guide id="4" orient="horz" pos="3120" userDrawn="1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M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D699D66-FB69-D74D-8D14-D34010B9AD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04676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EAE71ED-CCA7-7041-8EA1-89E842E5E7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75231186-8295-4841-8BFE-2BFEB7ADFB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5F814D2-9360-8441-B325-95B6F3AAC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4CBAF6D0-BAEE-614A-B1CA-EA87B135F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928328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M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4E384A2-BCF1-3241-B6BC-F230C3CEF3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0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3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8056BC-493E-FF40-B5D6-A7C54EE285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D9549C-1A7F-714B-B6C9-B8C94AE1F7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0D08BCB-2DAE-7944-8628-ECC7F5339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87294354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M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21406DAD-A14C-D64F-851C-3E4251E0E9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059DB96-38BB-8C44-BEE6-79E193D3EF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499293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C7C2759-5413-9647-B398-F269CDC851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4A76205-1D2B-DA47-AF5A-87614A4421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518161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M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97F86E8-6969-EA49-AA59-76B41BBA15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B3A8364-80DE-D642-9543-1056990AD9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761FD42-7C1C-7946-814E-DC90712C87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4E36A7DB-6B36-7146-8869-6F59D0A72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89211552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M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505416-E8B1-5949-8598-E56FF2546D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377460" y="7617108"/>
            <a:ext cx="280140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239665-67ED-2843-AAE5-0D382A721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62893" y="7514175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8B3310A-4204-8D44-AD12-6E47444921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7137"/>
            <a:ext cx="5490686" cy="8222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4DB24E-2DEE-B441-A310-4D29BD8E5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4AACDFD-649E-D241-B7D9-6FBEF01C79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179471720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L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5784E16-54A4-5749-9787-C19890A6B9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869647-7650-C74B-A047-92E7266794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FCF0B-F5B5-884C-AB70-4F0D255DE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A036E336-9A20-B64F-A76C-FE1BB8E735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924518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0" userDrawn="1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L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032FDD-FC9E-AB4C-8234-3D0D62778D5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0"/>
            <a:ext cx="5490686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384CAD2-BB35-2441-9FC3-D2010114F9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4C60CCA-485D-8445-9A7C-885EF35C59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AAA384-1BA9-204E-9201-2EE77A9934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62056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8C8224F-49B7-2648-BF9F-F857E67B3F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444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74937913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1346836"/>
            <a:ext cx="9326880" cy="286512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322446"/>
            <a:ext cx="82296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729148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2A042-2972-BC4D-B818-B0124095F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88CC1EAB-BEEB-0142-A1BA-F7313EF40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61C022-9584-4AA8-9211-9921CB40CC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4103" y="3329717"/>
            <a:ext cx="2704593" cy="1570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4978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slide_WT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10360E9-0E7D-2342-86B3-B6103E5F4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69861" y="2219018"/>
            <a:ext cx="3844898" cy="3302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33941D08-856F-1645-9A80-4ABD38A759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69861" y="2600112"/>
            <a:ext cx="3844898" cy="3336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79B1774-930E-394D-930F-D92245CA44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349" y="2180916"/>
            <a:ext cx="2050488" cy="2733984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C97095-39B7-954A-9DB4-39FA2B874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67DC740-58D2-1947-AC56-556FB3125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B313EF-A9DF-5E40-85D3-C09A19734C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Biograph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A6BBD3-2C50-E348-A08B-40C111DA31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69408" y="3390900"/>
            <a:ext cx="5217319" cy="3924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lang="en-US" sz="120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 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l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atqu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 es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esti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e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isim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emo 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i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s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sus</a:t>
            </a: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endias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ib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itioremo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onsequ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tat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at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T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m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ovi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e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gnati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osaped</a:t>
            </a: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cti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, que non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od quo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 p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era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vend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nih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74083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1824" userDrawn="1">
          <p15:clr>
            <a:srgbClr val="FBAE40"/>
          </p15:clr>
        </p15:guide>
        <p15:guide id="3" orient="horz" pos="2136" userDrawn="1">
          <p15:clr>
            <a:srgbClr val="FBAE40"/>
          </p15:clr>
        </p15:guide>
        <p15:guide id="6" pos="1512" userDrawn="1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876213"/>
      </p:ext>
    </p:extLst>
  </p:cSld>
  <p:clrMapOvr>
    <a:masterClrMapping/>
  </p:clrMapOvr>
  <p:hf hdr="0" dt="0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666" y="2051688"/>
            <a:ext cx="9464040" cy="3423284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8666" y="5507358"/>
            <a:ext cx="9464040" cy="1800224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899833"/>
      </p:ext>
    </p:extLst>
  </p:cSld>
  <p:clrMapOvr>
    <a:masterClrMapping/>
  </p:clrMapOvr>
  <p:hf hdr="0" dt="0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4380" y="2190750"/>
            <a:ext cx="4663440" cy="5221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54980" y="2190750"/>
            <a:ext cx="4663440" cy="5221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718031"/>
      </p:ext>
    </p:extLst>
  </p:cSld>
  <p:clrMapOvr>
    <a:masterClrMapping/>
  </p:clrMapOvr>
  <p:hf hdr="0" dt="0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438152"/>
            <a:ext cx="9464040" cy="15906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810" y="2017396"/>
            <a:ext cx="4642008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810" y="3006090"/>
            <a:ext cx="4642008" cy="44215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4981" y="2017396"/>
            <a:ext cx="4664869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4981" y="3006090"/>
            <a:ext cx="4664869" cy="44215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8889178"/>
      </p:ext>
    </p:extLst>
  </p:cSld>
  <p:clrMapOvr>
    <a:masterClrMapping/>
  </p:clrMapOvr>
  <p:hf hd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401409"/>
      </p:ext>
    </p:extLst>
  </p:cSld>
  <p:clrMapOvr>
    <a:masterClrMapping/>
  </p:clrMapOvr>
  <p:hf hdr="0" dt="0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53331"/>
      </p:ext>
    </p:extLst>
  </p:cSld>
  <p:clrMapOvr>
    <a:masterClrMapping/>
  </p:clrMapOvr>
  <p:hf hdr="0" dt="0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548640"/>
            <a:ext cx="353901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4869" y="1184912"/>
            <a:ext cx="5554980" cy="584835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09" y="2468880"/>
            <a:ext cx="353901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6551665"/>
      </p:ext>
    </p:extLst>
  </p:cSld>
  <p:clrMapOvr>
    <a:masterClrMapping/>
  </p:clrMapOvr>
  <p:hf hdr="0" dt="0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548640"/>
            <a:ext cx="353901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64869" y="1184912"/>
            <a:ext cx="5554980" cy="5848350"/>
          </a:xfrm>
        </p:spPr>
        <p:txBody>
          <a:bodyPr anchor="t"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09" y="2468880"/>
            <a:ext cx="353901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283663"/>
      </p:ext>
    </p:extLst>
  </p:cSld>
  <p:clrMapOvr>
    <a:masterClrMapping/>
  </p:clrMapOvr>
  <p:hf hd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319653"/>
      </p:ext>
    </p:extLst>
  </p:cSld>
  <p:clrMapOvr>
    <a:masterClrMapping/>
  </p:clrMapOvr>
  <p:hf hdr="0" dt="0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411" y="438150"/>
            <a:ext cx="2366010" cy="697420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4381" y="438150"/>
            <a:ext cx="6960870" cy="697420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384708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A11D87E-9102-8041-A545-614E56DC9B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9295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708AF069-4AAF-8F4F-895F-5193037975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9295" y="2722255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98D9EA-831F-1645-8FD6-80930C3F5C3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59476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5CA9C212-569D-2C4A-BD04-762202906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4C8B73F2-4891-2D4E-A20B-85B3FC606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282736A-63F0-2C4E-A20E-A06DC79A5B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Our Team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B884D121-85EE-F749-8D5B-A87A9656373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64611" y="304674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82" name="Text Placeholder 17">
            <a:extLst>
              <a:ext uri="{FF2B5EF4-FFF2-40B4-BE49-F238E27FC236}">
                <a16:creationId xmlns:a16="http://schemas.microsoft.com/office/drawing/2014/main" id="{F258A286-0285-2446-A5E2-62AADD2651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814876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9863B9A-3E47-C74F-971E-887289AF0E3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814876" y="2722255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4" name="Picture Placeholder 5">
            <a:extLst>
              <a:ext uri="{FF2B5EF4-FFF2-40B4-BE49-F238E27FC236}">
                <a16:creationId xmlns:a16="http://schemas.microsoft.com/office/drawing/2014/main" id="{7BB40C8F-E9CF-3445-A5E4-4882FDCA7B55}"/>
              </a:ext>
            </a:extLst>
          </p:cNvPr>
          <p:cNvSpPr>
            <a:spLocks noGrp="1" noChangeAspect="1"/>
          </p:cNvSpPr>
          <p:nvPr>
            <p:ph type="pic" sz="quarter" idx="60"/>
          </p:nvPr>
        </p:nvSpPr>
        <p:spPr>
          <a:xfrm>
            <a:off x="381505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73A3EEB5-64CB-DE4A-BC4A-03470206011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820192" y="304659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312194F6-FE3D-DC40-8824-EFB774D8E6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275626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0C47C18-B73D-6D4F-B1B5-F704476D84B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75626" y="2725530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98" name="Picture Placeholder 5">
            <a:extLst>
              <a:ext uri="{FF2B5EF4-FFF2-40B4-BE49-F238E27FC236}">
                <a16:creationId xmlns:a16="http://schemas.microsoft.com/office/drawing/2014/main" id="{E2D2C08D-AE3C-EB4F-B4D8-EBD677A8390D}"/>
              </a:ext>
            </a:extLst>
          </p:cNvPr>
          <p:cNvSpPr>
            <a:spLocks noGrp="1" noChangeAspect="1"/>
          </p:cNvSpPr>
          <p:nvPr>
            <p:ph type="pic" sz="quarter" idx="72"/>
          </p:nvPr>
        </p:nvSpPr>
        <p:spPr>
          <a:xfrm>
            <a:off x="727580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4655D302-B056-004F-AC7C-B2BE4208D00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280942" y="303941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07" name="Text Placeholder 17">
            <a:extLst>
              <a:ext uri="{FF2B5EF4-FFF2-40B4-BE49-F238E27FC236}">
                <a16:creationId xmlns:a16="http://schemas.microsoft.com/office/drawing/2014/main" id="{DBE1BC7B-6A59-F942-BFEA-E57DF606D480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280942" y="6640303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71B7768B-833A-A94C-B05A-3126E66608D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359295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183997D2-5C79-1D4A-AAE5-51D8B9B8FE7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59295" y="4537304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74" name="Picture Placeholder 5">
            <a:extLst>
              <a:ext uri="{FF2B5EF4-FFF2-40B4-BE49-F238E27FC236}">
                <a16:creationId xmlns:a16="http://schemas.microsoft.com/office/drawing/2014/main" id="{0E3BCFEA-B0BE-8141-8FCA-25C4534CC7E3}"/>
              </a:ext>
            </a:extLst>
          </p:cNvPr>
          <p:cNvSpPr>
            <a:spLocks noGrp="1" noChangeAspect="1"/>
          </p:cNvSpPr>
          <p:nvPr>
            <p:ph type="pic" sz="quarter" idx="84"/>
          </p:nvPr>
        </p:nvSpPr>
        <p:spPr>
          <a:xfrm>
            <a:off x="359476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4490CC13-6E18-5A40-98A9-EF6E9AB847E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11" y="486178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DA89615A-F6B0-5443-870B-3A8B1863B7D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814876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2B82D6AE-CE9E-2E45-A4A4-A92B7861A52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814876" y="4537304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94" name="Picture Placeholder 5">
            <a:extLst>
              <a:ext uri="{FF2B5EF4-FFF2-40B4-BE49-F238E27FC236}">
                <a16:creationId xmlns:a16="http://schemas.microsoft.com/office/drawing/2014/main" id="{64E73F09-9168-FE44-9270-870FF6C0F304}"/>
              </a:ext>
            </a:extLst>
          </p:cNvPr>
          <p:cNvSpPr>
            <a:spLocks noGrp="1" noChangeAspect="1"/>
          </p:cNvSpPr>
          <p:nvPr>
            <p:ph type="pic" sz="quarter" idx="88"/>
          </p:nvPr>
        </p:nvSpPr>
        <p:spPr>
          <a:xfrm>
            <a:off x="381505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F8ED6090-491F-8548-BE5A-3FC6A6CC2E7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820192" y="486163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08" name="Text Placeholder 17">
            <a:extLst>
              <a:ext uri="{FF2B5EF4-FFF2-40B4-BE49-F238E27FC236}">
                <a16:creationId xmlns:a16="http://schemas.microsoft.com/office/drawing/2014/main" id="{8FA5C4D5-A77D-D441-81C0-D20227A39AF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275626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09" name="Text Placeholder 17">
            <a:extLst>
              <a:ext uri="{FF2B5EF4-FFF2-40B4-BE49-F238E27FC236}">
                <a16:creationId xmlns:a16="http://schemas.microsoft.com/office/drawing/2014/main" id="{410C961D-B2A8-2F42-B8D6-8529C498A84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275626" y="454057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0" name="Picture Placeholder 5">
            <a:extLst>
              <a:ext uri="{FF2B5EF4-FFF2-40B4-BE49-F238E27FC236}">
                <a16:creationId xmlns:a16="http://schemas.microsoft.com/office/drawing/2014/main" id="{69A3C0BF-6999-4C41-9E7C-6D22F9FECCE0}"/>
              </a:ext>
            </a:extLst>
          </p:cNvPr>
          <p:cNvSpPr>
            <a:spLocks noGrp="1" noChangeAspect="1"/>
          </p:cNvSpPr>
          <p:nvPr>
            <p:ph type="pic" sz="quarter" idx="92"/>
          </p:nvPr>
        </p:nvSpPr>
        <p:spPr>
          <a:xfrm>
            <a:off x="727580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1" name="Text Placeholder 17">
            <a:extLst>
              <a:ext uri="{FF2B5EF4-FFF2-40B4-BE49-F238E27FC236}">
                <a16:creationId xmlns:a16="http://schemas.microsoft.com/office/drawing/2014/main" id="{E847A34A-FA18-294F-A2AA-42A8A04E3DD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280942" y="485445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12" name="Text Placeholder 17">
            <a:extLst>
              <a:ext uri="{FF2B5EF4-FFF2-40B4-BE49-F238E27FC236}">
                <a16:creationId xmlns:a16="http://schemas.microsoft.com/office/drawing/2014/main" id="{CE506D79-0E45-8746-A092-5F2D85579EFD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359295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3" name="Text Placeholder 17">
            <a:extLst>
              <a:ext uri="{FF2B5EF4-FFF2-40B4-BE49-F238E27FC236}">
                <a16:creationId xmlns:a16="http://schemas.microsoft.com/office/drawing/2014/main" id="{8EFBF95F-B693-464C-88B3-CEF008BD074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359295" y="63248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4" name="Picture Placeholder 5">
            <a:extLst>
              <a:ext uri="{FF2B5EF4-FFF2-40B4-BE49-F238E27FC236}">
                <a16:creationId xmlns:a16="http://schemas.microsoft.com/office/drawing/2014/main" id="{CD7F7CFB-EE6F-1243-83E8-6A781210E7B0}"/>
              </a:ext>
            </a:extLst>
          </p:cNvPr>
          <p:cNvSpPr>
            <a:spLocks noGrp="1" noChangeAspect="1"/>
          </p:cNvSpPr>
          <p:nvPr>
            <p:ph type="pic" sz="quarter" idx="96"/>
          </p:nvPr>
        </p:nvSpPr>
        <p:spPr>
          <a:xfrm>
            <a:off x="359476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5" name="Text Placeholder 17">
            <a:extLst>
              <a:ext uri="{FF2B5EF4-FFF2-40B4-BE49-F238E27FC236}">
                <a16:creationId xmlns:a16="http://schemas.microsoft.com/office/drawing/2014/main" id="{B24322DA-13F7-D940-A2CD-8E5322ECE3B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364611" y="664933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16" name="Text Placeholder 17">
            <a:extLst>
              <a:ext uri="{FF2B5EF4-FFF2-40B4-BE49-F238E27FC236}">
                <a16:creationId xmlns:a16="http://schemas.microsoft.com/office/drawing/2014/main" id="{C4B65721-8D39-344C-9501-A958A8B17AA3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4814876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7" name="Text Placeholder 17">
            <a:extLst>
              <a:ext uri="{FF2B5EF4-FFF2-40B4-BE49-F238E27FC236}">
                <a16:creationId xmlns:a16="http://schemas.microsoft.com/office/drawing/2014/main" id="{B0D115F9-DFCC-7C4F-BE2E-376249B73A3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814876" y="63248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8" name="Picture Placeholder 5">
            <a:extLst>
              <a:ext uri="{FF2B5EF4-FFF2-40B4-BE49-F238E27FC236}">
                <a16:creationId xmlns:a16="http://schemas.microsoft.com/office/drawing/2014/main" id="{441357CC-87B8-1148-8867-8CD67EEB5C24}"/>
              </a:ext>
            </a:extLst>
          </p:cNvPr>
          <p:cNvSpPr>
            <a:spLocks noGrp="1" noChangeAspect="1"/>
          </p:cNvSpPr>
          <p:nvPr>
            <p:ph type="pic" sz="quarter" idx="100"/>
          </p:nvPr>
        </p:nvSpPr>
        <p:spPr>
          <a:xfrm>
            <a:off x="381505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9" name="Text Placeholder 17">
            <a:extLst>
              <a:ext uri="{FF2B5EF4-FFF2-40B4-BE49-F238E27FC236}">
                <a16:creationId xmlns:a16="http://schemas.microsoft.com/office/drawing/2014/main" id="{387F1AC6-EE98-C741-AE68-F6FF5CFD51EF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4820192" y="664918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20" name="Text Placeholder 17">
            <a:extLst>
              <a:ext uri="{FF2B5EF4-FFF2-40B4-BE49-F238E27FC236}">
                <a16:creationId xmlns:a16="http://schemas.microsoft.com/office/drawing/2014/main" id="{CF11C440-3FC8-D549-A007-AEFE848BA18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275626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21" name="Text Placeholder 17">
            <a:extLst>
              <a:ext uri="{FF2B5EF4-FFF2-40B4-BE49-F238E27FC236}">
                <a16:creationId xmlns:a16="http://schemas.microsoft.com/office/drawing/2014/main" id="{1D7527AB-F872-5D4F-9180-6517078E2B0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8275626" y="6328128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22" name="Picture Placeholder 5">
            <a:extLst>
              <a:ext uri="{FF2B5EF4-FFF2-40B4-BE49-F238E27FC236}">
                <a16:creationId xmlns:a16="http://schemas.microsoft.com/office/drawing/2014/main" id="{CFB3C9FF-7436-9846-9211-762CC13EEE0C}"/>
              </a:ext>
            </a:extLst>
          </p:cNvPr>
          <p:cNvSpPr>
            <a:spLocks noGrp="1" noChangeAspect="1"/>
          </p:cNvSpPr>
          <p:nvPr>
            <p:ph type="pic" sz="quarter" idx="104"/>
          </p:nvPr>
        </p:nvSpPr>
        <p:spPr>
          <a:xfrm>
            <a:off x="727580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3" name="Text Placeholder 17">
            <a:extLst>
              <a:ext uri="{FF2B5EF4-FFF2-40B4-BE49-F238E27FC236}">
                <a16:creationId xmlns:a16="http://schemas.microsoft.com/office/drawing/2014/main" id="{6F30B1CA-5C2F-F540-82E3-85F0D71D24C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80942" y="664200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8532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07A9891-9EA4-6A48-9E22-302B9EF36C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7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B00D1C-65A4-1044-A59D-A128D5EC11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6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en-US" sz="6000" b="1" i="0" dirty="0">
                <a:solidFill>
                  <a:srgbClr val="002577"/>
                </a:solidFill>
                <a:latin typeface="IBM Plex Sans" panose="020B0503050203000203" pitchFamily="34" charset="0"/>
              </a:defRPr>
            </a:lvl1pPr>
          </a:lstStyle>
          <a:p>
            <a:pPr marL="205720" lvl="0" indent="-205720" algn="ctr">
              <a:lnSpc>
                <a:spcPct val="85000"/>
              </a:lnSpc>
            </a:pPr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ACCD9A0-40BD-D74A-ABEB-3B574060A4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5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8C96B9B-9FD6-480F-8A2F-6C245D1D0A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7637" y="516033"/>
            <a:ext cx="1892808" cy="1098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41064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rmation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7">
            <a:extLst>
              <a:ext uri="{FF2B5EF4-FFF2-40B4-BE49-F238E27FC236}">
                <a16:creationId xmlns:a16="http://schemas.microsoft.com/office/drawing/2014/main" id="{8DCEA276-9209-A441-A46A-C9C61A22AB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322" y="2569464"/>
            <a:ext cx="5143501" cy="4745736"/>
          </a:xfrm>
          <a:prstGeom prst="rect">
            <a:avLst/>
          </a:prstGeom>
        </p:spPr>
        <p:txBody>
          <a:bodyPr>
            <a:normAutofit/>
          </a:bodyPr>
          <a:lstStyle>
            <a:lvl1pPr marL="160004" indent="-160004">
              <a:lnSpc>
                <a:spcPct val="90000"/>
              </a:lnSpc>
              <a:buFont typeface="Arial" panose="020B0604020202020204" pitchFamily="34" charset="0"/>
              <a:buChar char="•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154292" marR="0" indent="0" algn="l" defTabSz="822878" rtl="0" eaLnBrk="1" fontAlgn="auto" latinLnBrk="0" hangingPunct="1">
              <a:lnSpc>
                <a:spcPct val="9000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  <a:p>
            <a:pPr marL="310010" marR="0" lvl="1" indent="-155719" algn="l" defTabSz="822878" rtl="0" eaLnBrk="1" fontAlgn="auto" latinLnBrk="0" hangingPunct="1">
              <a:lnSpc>
                <a:spcPts val="225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DB8790C-9C94-8345-B804-9E75D9B4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D5D61A-2FD6-4D4C-B1CF-F215103CD5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38C6021-8DB3-1642-94F8-111AD16A6A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8781453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28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 slide_EQB_04 w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drawing of a face&#10;&#10;Description automatically generated">
            <a:extLst>
              <a:ext uri="{FF2B5EF4-FFF2-40B4-BE49-F238E27FC236}">
                <a16:creationId xmlns:a16="http://schemas.microsoft.com/office/drawing/2014/main" id="{FFF65200-54FE-044C-B64B-25BE9E4A9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</a:blip>
          <a:srcRect l="17663"/>
          <a:stretch/>
        </p:blipFill>
        <p:spPr>
          <a:xfrm>
            <a:off x="1" y="731520"/>
            <a:ext cx="10972799" cy="749808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63FF8A-BB29-1249-9B7C-1C72E463B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63FF8A-BB29-1249-9B7C-1C72E463B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D78B5EF-CDB0-084B-AA80-3E4E200600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8758" y="3586002"/>
            <a:ext cx="5006518" cy="22368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6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 here one or two lines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110A4B-BB09-FB44-8962-076AB3B51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759" y="6798679"/>
            <a:ext cx="4784068" cy="285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5A79FD7-893D-8D42-80AE-9932D8266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8759" y="7083877"/>
            <a:ext cx="2700028" cy="285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0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27F4F1-4049-714D-B58D-C94B58229F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09822" y="482803"/>
            <a:ext cx="1965656" cy="114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82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40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EQB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5CFAED-2DDB-9A4F-A58D-4083DB8EE8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5CFAED-2DDB-9A4F-A58D-4083DB8EE8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539E5ED-6D1D-1F46-B752-48310B75A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6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85000"/>
              </a:lnSpc>
              <a:buNone/>
              <a:defRPr sz="600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 her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249FBCE-25EE-AD47-9D91-00BEACCB35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6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B95BF2-7A5F-EF44-9BA4-C0BF16711D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5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76635A-E37F-5641-BF78-9980B334004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6597" y="481020"/>
            <a:ext cx="1419606" cy="10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0937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EQB_02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63FF8A-BB29-1249-9B7C-1C72E463B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63FF8A-BB29-1249-9B7C-1C72E463B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D78B5EF-CDB0-084B-AA80-3E4E200600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0357" y="4658627"/>
            <a:ext cx="7652084" cy="171329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500"/>
              </a:lnSpc>
              <a:buNone/>
              <a:defRPr sz="2700" b="1" i="0">
                <a:solidFill>
                  <a:schemeClr val="bg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 here two or three lines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110A4B-BB09-FB44-8962-076AB3B51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4367" y="6798678"/>
            <a:ext cx="4784067" cy="2851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chemeClr val="bg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5A79FD7-893D-8D42-80AE-9932D8266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6385" y="7083876"/>
            <a:ext cx="2700028" cy="2851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chemeClr val="bg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2DCA8EA-D396-ED45-8079-3A6E4D27829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800" y="1447534"/>
            <a:ext cx="2743200" cy="212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456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8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troduction slide_EQB_02"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63FF8A-BB29-1249-9B7C-1C72E463B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63FF8A-BB29-1249-9B7C-1C72E463B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D78B5EF-CDB0-084B-AA80-3E4E200600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8758" y="3586002"/>
            <a:ext cx="5006517" cy="22368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600" b="1" i="0">
                <a:solidFill>
                  <a:schemeClr val="bg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 here two or three lines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110A4B-BB09-FB44-8962-076AB3B51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758" y="6798678"/>
            <a:ext cx="4784067" cy="285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1" i="0">
                <a:solidFill>
                  <a:schemeClr val="bg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5A79FD7-893D-8D42-80AE-9932D8266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8759" y="7083876"/>
            <a:ext cx="2700028" cy="285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0" i="0">
                <a:solidFill>
                  <a:schemeClr val="bg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BCBB80-E3BA-5B4D-92D8-D4D47EE6922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6597" y="481020"/>
            <a:ext cx="1419606" cy="1098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9068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8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004B21-312F-5F40-8DB7-BAF115E8A5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004B21-312F-5F40-8DB7-BAF115E8A5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5FD2F7-360C-EB48-9E5E-E9E9C1CEAA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FE2B057-02FC-4A41-A393-68D958BFA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09879" y="7615599"/>
            <a:ext cx="3703320" cy="218918"/>
          </a:xfr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F593F-FD28-8548-9E62-E8C7722A90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1" y="5927064"/>
            <a:ext cx="10286999" cy="1549248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4050" b="1" i="0" dirty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168300258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85775A-A2A4-3448-9D64-1BD80A4B30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785775A-A2A4-3448-9D64-1BD80A4B30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270F1CF1-190E-D04C-B754-73CA21E113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CB514DA-CD07-F544-9B85-5F93F1704E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0" y="2653993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 algn="ctr">
              <a:buNone/>
              <a:defRPr sz="1800"/>
            </a:lvl2pPr>
            <a:lvl3pPr marL="822899" indent="0" algn="ctr">
              <a:buNone/>
              <a:defRPr sz="1620"/>
            </a:lvl3pPr>
            <a:lvl4pPr marL="1234349" indent="0" algn="ctr">
              <a:buNone/>
              <a:defRPr sz="1440"/>
            </a:lvl4pPr>
            <a:lvl5pPr marL="1645797" indent="0" algn="ctr">
              <a:buNone/>
              <a:defRPr sz="1440"/>
            </a:lvl5pPr>
            <a:lvl6pPr marL="2057246" indent="0" algn="ctr">
              <a:buNone/>
              <a:defRPr sz="1440"/>
            </a:lvl6pPr>
            <a:lvl7pPr marL="2468694" indent="0" algn="ctr">
              <a:buNone/>
              <a:defRPr sz="1440"/>
            </a:lvl7pPr>
            <a:lvl8pPr marL="2880144" indent="0" algn="ctr">
              <a:buNone/>
              <a:defRPr sz="1440"/>
            </a:lvl8pPr>
            <a:lvl9pPr marL="3291594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16FFEE-BBC8-DD42-806B-070FB8BB2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A155C0-57F6-0342-A9B6-29220FA83E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90573302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EQB_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35AC640-D526-5941-91FB-F35AD7644D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35AC640-D526-5941-91FB-F35AD7644D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4794C84-E508-5D48-991B-AAF4D51C70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8" y="2208618"/>
            <a:ext cx="4734517" cy="1554208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DEC2ED5-F426-9043-BFB3-17DFE08D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4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068CD4-070E-8A4A-80E7-B747C9F15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D53B226-C0E3-8143-9553-0819E57E80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2855193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EQB_0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4793EE-2097-5542-802F-21020F67F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4793EE-2097-5542-802F-21020F67F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B9916-33A5-F845-9B53-350A76D40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0228" y="7620500"/>
            <a:ext cx="297575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C9064A-C798-FE4D-981A-1D4C6367E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10718" y="7517567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esentation title here – month 00, 000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BC9AD28-0C12-6644-8CBE-0959C72CA3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0"/>
            <a:ext cx="5490686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marR="0" indent="0" algn="ctr" defTabSz="82294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8F6FF84-D854-EA44-9D0E-A499B83FD5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8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E8D5EE4-D590-8844-B0D8-8876B8E0AC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4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15868670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486B662-82A9-3240-99B0-CABFBF382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017F322-6C13-F740-B332-E77A00AED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6DF122C-D96D-6F42-9C0D-614B8475D9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9525">
              <a:lnSpc>
                <a:spcPts val="4125"/>
              </a:lnSpc>
              <a:buNone/>
              <a:tabLst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</p:spTree>
    <p:extLst>
      <p:ext uri="{BB962C8B-B14F-4D97-AF65-F5344CB8AC3E}">
        <p14:creationId xmlns:p14="http://schemas.microsoft.com/office/powerpoint/2010/main" val="2170225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40C3C22-251B-7B4C-BE2F-89AA45C2F4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40C3C22-251B-7B4C-BE2F-89AA45C2F4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9BD7DA-3207-8440-A6E1-4855224A2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C8160-20C6-E943-A92B-B30D19CB7B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DB2FA80-B6CF-8F42-A2D3-A2CA70DE2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56728394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0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447111B-A31B-D443-88EE-F705AE5261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447111B-A31B-D443-88EE-F705AE5261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76BE2EB-7844-CC4A-A2D4-71E7754B56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BA6FC5-8E36-5A44-B3BC-47360495D3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70" y="-147890"/>
            <a:ext cx="1371600" cy="18288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457D4C-A279-8447-B589-1347DD4B9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6F93BC9-D559-6142-B163-CAE4B02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89915658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DABAE52-1225-B44E-B5FE-476335BA9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DABAE52-1225-B44E-B5FE-476335BA9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866E1F3-4609-0640-AD1B-2F672B8B8E10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0DC03F-BC76-6843-947D-9AC312F7898F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420E7E7-DD61-044F-8ED4-E50CB9288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21363" y="3070125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98.5 bn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DC0626-E8A0-CC44-B39F-BADA08786F58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4D519E8D-D528-264C-B18E-C97E841908B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4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2D9F6F1A-5F61-7F4C-AD28-CE1C6274B4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3193676-CE7F-014B-8984-394F01AFD7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3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A4C2A17-7BBD-B443-BB9F-8D2F027BAC4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71971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82A2387-3CB5-2B47-9852-686F85A316AD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DA70AE5-180D-EF44-89AF-B6EBEF9AB7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1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FD565EAE-E121-4A42-A387-679C3C7CB24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0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FFAB77-0A1A-B048-A12C-5CA16F89471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1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6A1CE6-8C86-9A48-8465-BD6367E411E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6172"/>
            <a:ext cx="2634680" cy="3721598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C7287D5-11DD-5B4A-8097-9F078F3AA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E93B38B8-5AEF-0348-9075-45E2BACBD9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001675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pos="4656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29ABE2-7166-D948-8A25-839FE79C38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29ABE2-7166-D948-8A25-839FE79C38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FD3CAC5-B928-1E43-985B-1CDAAED26F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5D9F62-74D1-F84E-8D16-FD3617B440A5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72EA457-55F2-2B45-87E1-23BED43E31C9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3AEC4A-DA82-F346-87B6-8439448FB08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3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FAA45053-AF9A-8A42-8C1C-B1D59EDAB8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3014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93818ED-5294-A94D-9F3C-F2FC141FB85E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A8C42AC-F045-5143-A125-4529C9C5D66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1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D308CE3-5995-5340-BD37-E4001D0AC95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0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0489F57-D1D5-ED43-8741-6354365AFA9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38971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323367B-FA48-F84A-AE52-85D29A5ED26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2">
            <a:extLst>
              <a:ext uri="{FF2B5EF4-FFF2-40B4-BE49-F238E27FC236}">
                <a16:creationId xmlns:a16="http://schemas.microsoft.com/office/drawing/2014/main" id="{91CE0284-FE07-B042-AC13-8591B4DAB1F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4" y="34751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47AEE74-3902-2F41-975F-AB8C18C5646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71971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B11DF6E8-BA8F-A343-A9A7-26D4F9BB7FA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546275" y="34751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DF6B51-11AC-704A-97B2-A04FBFC4E4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38971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BF62093-8215-604A-88E7-A23A609BEA61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0B543A9-50A9-B24A-AB3D-59895EEEF15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4"/>
            <a:ext cx="2634680" cy="3721606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D3F08A0-4A63-E244-ABDD-976D88B060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2340C9E0-1D03-4E4A-BA3B-85A03C2A01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9372945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DAF127-12CF-3A48-AB59-73265F2AF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DAF127-12CF-3A48-AB59-73265F2AF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3B957D0-7A04-AA42-B0A7-4D42C6A01B0D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13EA62-46A0-C048-B111-C692D2727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5830" y="3312519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DB292C36-D2BD-D84C-BECF-935BEE8C31F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2" y="3311222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6874B26-F31F-F748-8186-544B9E8273D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42138" y="3311222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594E4948-6C0F-1743-8F69-87F2985AB1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2FA3CFD-1383-E740-9B0C-2EEDCB17EB27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B563A6A-5F52-F347-B158-2A50E23F9BB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3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AAFD104-7C5A-E948-ABC9-F2215834BD4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908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62F5F7C-E1B9-0647-AF32-20A80D7CACF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83008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19A404B-667A-874A-8471-30221F0436B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33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E3CCEC4-FA0D-664B-BCFD-0E4E3D7AFA3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15908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61C1FAB-2D6B-A34C-B965-2635360CD2C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83008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B6893E18-66C7-114D-A9EE-1EDDCCF757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8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81AA2E14-F288-D84C-BC8D-723D2B5DC5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EBF9A7CB-BD6D-C549-8D16-F85A877388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50EC673-7D97-6A44-B5BB-6FE42552ADA7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025D663-6FA1-5C4B-997B-5ADE626717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98CE7A7-D98D-9F44-8E94-6A145036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843954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>
          <p15:clr>
            <a:srgbClr val="FBAE40"/>
          </p15:clr>
        </p15:guide>
        <p15:guide id="2" pos="3264">
          <p15:clr>
            <a:srgbClr val="FBAE40"/>
          </p15:clr>
        </p15:guide>
        <p15:guide id="3" pos="6167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6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C96544-F922-8A4B-B5C7-AA455BBE19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5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C96544-F922-8A4B-B5C7-AA455BBE19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4B44A06D-1DA3-5343-B222-543919237BC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10972800" cy="8229600"/>
          </a:xfrm>
          <a:prstGeom prst="rect">
            <a:avLst/>
          </a:prstGeom>
        </p:spPr>
        <p:txBody>
          <a:bodyPr anchor="ctr"/>
          <a:lstStyle>
            <a:lvl1pPr marL="0" marR="0" indent="0" algn="ctr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ctr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image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D63682A-316C-EA44-827A-3E6C506639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D4C6B07-9A7A-A142-A800-18293A6956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45B3894-6357-E847-8D11-6A4DA2DD83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860EC1C9-4D19-C046-9E31-4EA4C9EE1E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3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02A9129-0660-CD46-A219-B840D39917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2" y="3397650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t abo.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8411E9FF-8F2B-FF45-B5E5-30DC5B2251F3}"/>
              </a:ext>
            </a:extLst>
          </p:cNvPr>
          <p:cNvSpPr txBox="1">
            <a:spLocks/>
          </p:cNvSpPr>
          <p:nvPr userDrawn="1"/>
        </p:nvSpPr>
        <p:spPr>
          <a:xfrm>
            <a:off x="352044" y="7612677"/>
            <a:ext cx="1733932" cy="22184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FFFFFF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2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82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>
          <p15:clr>
            <a:srgbClr val="FBAE40"/>
          </p15:clr>
        </p15:guide>
        <p15:guide id="2" orient="horz" pos="2208">
          <p15:clr>
            <a:srgbClr val="FBAE40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EQB_0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9A4051-0A09-1742-B51D-CE23DD5D98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9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9A4051-0A09-1742-B51D-CE23DD5D9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43A56F3F-3B95-2C48-AA04-EE83014629A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2352" y="1363335"/>
            <a:ext cx="8332470" cy="6249353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7FA2F48-D94E-F746-975E-497A7E787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4FDAB7-518D-FB45-8952-11E914DCA5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4930" y="346588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0051A0-C26A-6740-BCCD-37161553B4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918" y="346588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C647649-F2DF-2247-8BBC-D4099C1638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930" y="608208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E67F552-031C-2149-81E4-A270C4D5FC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918" y="608208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810C657-DEED-D642-9507-F5CCD842A2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06666" y="3925274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67F1B28-92B9-A441-B22A-1626A925EF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49654" y="3925274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25A3D71-DB0A-C041-876A-04CBBFDFEA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80401" y="5686790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764867-989C-AE4D-A868-A26D5448D7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23389" y="5686790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C35F52A-02BE-8D48-8796-6EF9D30F1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6D159EA-B9B8-894D-A6C4-2EAA44864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97076391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EQB_02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9086684-8108-E043-83AF-961F4F5598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3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9086684-8108-E043-83AF-961F4F5598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0B256BF-2DB0-0F4A-BBF4-C7442E8CC3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812" y="3127401"/>
            <a:ext cx="2551176" cy="19747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A5573-0A43-9740-BE2E-B408A1454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B3C8A5C-1A5C-4848-BBF7-A155F824D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482830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losing slide_EQB_02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3970DAA-C881-E440-8A5D-CD44BD9652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0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3970DAA-C881-E440-8A5D-CD44BD9652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0B256BF-2DB0-0F4A-BBF4-C7442E8CC3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812" y="3127401"/>
            <a:ext cx="2551176" cy="19747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A5573-0A43-9740-BE2E-B408A1454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B3C8A5C-1A5C-4848-BBF7-A155F824D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17260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FE9FD0-24BC-6E40-A3E2-D0B8848AD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FE9FD0-24BC-6E40-A3E2-D0B8848AD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07A9891-9EA4-6A48-9E22-302B9EF36C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7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resentation Subtitl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1CF900-15D1-AD45-B7F5-686F3C3B42A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76021" y="480256"/>
            <a:ext cx="1419606" cy="109888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B00D1C-65A4-1044-A59D-A128D5EC11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7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en-US" sz="6000" b="1" i="0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205726" lvl="0" indent="-205726" algn="ctr">
              <a:lnSpc>
                <a:spcPct val="85000"/>
              </a:lnSpc>
            </a:pPr>
            <a:r>
              <a:rPr lang="en-US"/>
              <a:t>Presentation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ACCD9A0-40BD-D74A-ABEB-3B574060A4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6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Month 00 2019</a:t>
            </a:r>
          </a:p>
        </p:txBody>
      </p:sp>
    </p:spTree>
    <p:extLst>
      <p:ext uri="{BB962C8B-B14F-4D97-AF65-F5344CB8AC3E}">
        <p14:creationId xmlns:p14="http://schemas.microsoft.com/office/powerpoint/2010/main" val="1778677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459513B-74D7-7742-B451-0A2A074BC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67C9897-77FD-E947-892C-ED90BBBF6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BEA7F6D-1BFD-3141-8D92-1C4D5ECC9F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10841-2B4E-434A-84C9-2317904A7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70" y="-139150"/>
            <a:ext cx="13716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9974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2EBE91-E909-433D-9C28-CF7408A33D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5465" y="1825626"/>
            <a:ext cx="10371581" cy="55515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6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8D1B4E-BE2F-4362-B8C7-E480A645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F62C56-EC2E-4A43-9B22-CB986A9E53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20B73-E64A-46A2-8E91-7F8B24202E5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79B588B-A6DF-4EA1-859D-3D318E385E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465" y="438151"/>
            <a:ext cx="10371581" cy="1208088"/>
          </a:xfrm>
          <a:prstGeom prst="rect">
            <a:avLst/>
          </a:prstGeom>
        </p:spPr>
        <p:txBody>
          <a:bodyPr/>
          <a:lstStyle>
            <a:lvl1pPr>
              <a:defRPr sz="2626" b="1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7984434"/>
      </p:ext>
    </p:extLst>
  </p:cSld>
  <p:clrMapOvr>
    <a:masterClrMapping/>
  </p:clrMapOvr>
  <p:hf hdr="0" dt="0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 slide_EQB_0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63FF8A-BB29-1249-9B7C-1C72E463B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63FF8A-BB29-1249-9B7C-1C72E463B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D78B5EF-CDB0-084B-AA80-3E4E200600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60357" y="4658627"/>
            <a:ext cx="7652083" cy="1713298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ts val="4500"/>
              </a:lnSpc>
              <a:buNone/>
              <a:defRPr sz="270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resentation title here two or three lines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110A4B-BB09-FB44-8962-076AB3B51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4367" y="6798679"/>
            <a:ext cx="4784068" cy="2851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resentation subtitle he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5A79FD7-893D-8D42-80AE-9932D8266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36386" y="7083877"/>
            <a:ext cx="2700028" cy="28519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Month 00 201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F560A54-84EC-844C-9FCE-BD65590A3ED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114800" y="1483049"/>
            <a:ext cx="2743200" cy="212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174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48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E5B6449-1FDB-424F-B8F7-3858C485B77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82" y="1"/>
            <a:ext cx="10970419" cy="592706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indent="0" algn="ctr">
              <a:buNone/>
              <a:defRPr lang="en-US" sz="105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z="826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3E83C46-AE03-49B2-968D-F4ADA5C4656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4851400"/>
            <a:ext cx="10972800" cy="33782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DD88ACE-DE2D-3F4E-90F8-DB22BA0DB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DD88ACE-DE2D-3F4E-90F8-DB22BA0DB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0C9CB4-B08E-DF45-B296-5B3DFF34A4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AA584-27BB-2F40-A904-0D13D24B3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025FDBF-FBAB-9144-90F0-4E5B96A09A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en-US" sz="4050" b="1" i="0" dirty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205726" lvl="0" indent="-205726" algn="ctr">
              <a:lnSpc>
                <a:spcPct val="85000"/>
              </a:lnSpc>
            </a:pPr>
            <a:r>
              <a:rPr lang="en-US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1835649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4">
          <p15:clr>
            <a:srgbClr val="FBAE40"/>
          </p15:clr>
        </p15:guide>
        <p15:guide id="2" orient="horz">
          <p15:clr>
            <a:srgbClr val="FBAE40"/>
          </p15:clr>
        </p15:guide>
        <p15:guide id="3">
          <p15:clr>
            <a:srgbClr val="FBAE40"/>
          </p15:clr>
        </p15:guide>
        <p15:guide id="4" pos="9216">
          <p15:clr>
            <a:srgbClr val="FBAE40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B5B10B-6872-AC4D-A19A-9936F6BA02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B5B10B-6872-AC4D-A19A-9936F6BA02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E1960E23-FBD9-6647-A373-98A4444F63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DD267E6-E00F-9346-9BAF-BD7F2E16D8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39" y="2653993"/>
            <a:ext cx="4208062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 algn="ctr">
              <a:buNone/>
              <a:defRPr sz="1800"/>
            </a:lvl2pPr>
            <a:lvl3pPr marL="822899" indent="0" algn="ctr">
              <a:buNone/>
              <a:defRPr sz="1620"/>
            </a:lvl3pPr>
            <a:lvl4pPr marL="1234349" indent="0" algn="ctr">
              <a:buNone/>
              <a:defRPr sz="1440"/>
            </a:lvl4pPr>
            <a:lvl5pPr marL="1645798" indent="0" algn="ctr">
              <a:buNone/>
              <a:defRPr sz="1440"/>
            </a:lvl5pPr>
            <a:lvl6pPr marL="2057245" indent="0" algn="ctr">
              <a:buNone/>
              <a:defRPr sz="1440"/>
            </a:lvl6pPr>
            <a:lvl7pPr marL="2468694" indent="0" algn="ctr">
              <a:buNone/>
              <a:defRPr sz="1440"/>
            </a:lvl7pPr>
            <a:lvl8pPr marL="2880144" indent="0" algn="ctr">
              <a:buNone/>
              <a:defRPr sz="1440"/>
            </a:lvl8pPr>
            <a:lvl9pPr marL="3291594" indent="0" algn="ctr">
              <a:buNone/>
              <a:defRPr sz="1440"/>
            </a:lvl9pPr>
          </a:lstStyle>
          <a:p>
            <a:r>
              <a:rPr lang="en-US"/>
              <a:t>Section </a:t>
            </a:r>
          </a:p>
          <a:p>
            <a:r>
              <a:rPr lang="en-US"/>
              <a:t>Title her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D72741-C454-5D4C-91E8-8E2E5FD06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553DADC-9F0C-9344-A677-AAF158AEC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480170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9544CC-A2C2-DC49-808A-CF73FF8499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9544CC-A2C2-DC49-808A-CF73FF8499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F2F95F8-4E80-234C-8A79-9CDC432126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8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Key take away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F85D0F6-27B0-CE42-9210-F8A3DCDCA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A823567-F4CC-A44A-B914-76FF7358F4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82056-9C51-3149-ACC8-7FDA967EF7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4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 am que pro </a:t>
            </a:r>
            <a:r>
              <a:rPr lang="en-US" err="1"/>
              <a:t>berrunti</a:t>
            </a:r>
            <a:r>
              <a:rPr lang="en-US"/>
              <a:t> re quo </a:t>
            </a:r>
            <a:r>
              <a:rPr lang="en-US" err="1"/>
              <a:t>iminimus</a:t>
            </a:r>
            <a:r>
              <a:rPr lang="en-US"/>
              <a:t> </a:t>
            </a:r>
            <a:r>
              <a:rPr lang="en-US" err="1"/>
              <a:t>ute</a:t>
            </a:r>
            <a:r>
              <a:rPr lang="en-US"/>
              <a:t> es el </a:t>
            </a:r>
            <a:r>
              <a:rPr lang="en-US" err="1"/>
              <a:t>estiam</a:t>
            </a:r>
            <a:r>
              <a:rPr lang="en-US"/>
              <a:t> ex </a:t>
            </a:r>
            <a:r>
              <a:rPr lang="en-US" err="1"/>
              <a:t>excearuptae</a:t>
            </a:r>
            <a:r>
              <a:rPr lang="en-US"/>
              <a:t>. </a:t>
            </a:r>
            <a:r>
              <a:rPr lang="en-US" err="1"/>
              <a:t>Uga</a:t>
            </a:r>
            <a:r>
              <a:rPr lang="en-US"/>
              <a:t>. Ut et </a:t>
            </a:r>
            <a:r>
              <a:rPr lang="en-US" err="1"/>
              <a:t>aliquas</a:t>
            </a:r>
            <a:r>
              <a:rPr lang="en-US"/>
              <a:t> </a:t>
            </a:r>
            <a:r>
              <a:rPr lang="en-US" err="1"/>
              <a:t>mos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,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ute</a:t>
            </a:r>
            <a:r>
              <a:rPr lang="en-US"/>
              <a:t> </a:t>
            </a:r>
            <a:r>
              <a:rPr lang="en-US" err="1"/>
              <a:t>duciisq</a:t>
            </a:r>
            <a:r>
              <a:rPr lang="en-US"/>
              <a:t> </a:t>
            </a:r>
            <a:r>
              <a:rPr lang="en-US" err="1"/>
              <a:t>uatbus</a:t>
            </a:r>
            <a:r>
              <a:rPr lang="en-US"/>
              <a:t>, </a:t>
            </a:r>
            <a:r>
              <a:rPr lang="en-US" err="1"/>
              <a:t>aut</a:t>
            </a:r>
            <a:r>
              <a:rPr lang="en-US"/>
              <a:t> quos mod non </a:t>
            </a:r>
            <a:r>
              <a:rPr lang="en-US" err="1"/>
              <a:t>rerorer</a:t>
            </a:r>
            <a:r>
              <a:rPr lang="en-US"/>
              <a:t> </a:t>
            </a:r>
            <a:r>
              <a:rPr lang="en-US" err="1"/>
              <a:t>spelicil</a:t>
            </a:r>
            <a:r>
              <a:rPr lang="en-US"/>
              <a:t> </a:t>
            </a:r>
            <a:r>
              <a:rPr lang="en-US" err="1"/>
              <a:t>mo</a:t>
            </a:r>
            <a:r>
              <a:rPr lang="en-US"/>
              <a:t>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eatia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t</a:t>
            </a:r>
            <a:r>
              <a:rPr lang="en-US"/>
              <a:t> </a:t>
            </a:r>
            <a:r>
              <a:rPr lang="en-US" err="1"/>
              <a:t>ventium</a:t>
            </a:r>
            <a:r>
              <a:rPr lang="en-US"/>
              <a:t> </a:t>
            </a:r>
            <a:r>
              <a:rPr lang="en-US" err="1"/>
              <a:t>nulpa</a:t>
            </a:r>
            <a:r>
              <a:rPr lang="en-US"/>
              <a:t> </a:t>
            </a:r>
            <a:r>
              <a:rPr lang="en-US" err="1"/>
              <a:t>si</a:t>
            </a:r>
            <a:r>
              <a:rPr lang="en-US"/>
              <a:t> </a:t>
            </a:r>
            <a:r>
              <a:rPr lang="en-US" err="1"/>
              <a:t>quist</a:t>
            </a:r>
            <a:r>
              <a:rPr lang="en-US"/>
              <a:t>, quid </a:t>
            </a:r>
            <a:r>
              <a:rPr lang="en-US" err="1"/>
              <a:t>earum</a:t>
            </a:r>
            <a:r>
              <a:rPr lang="en-US"/>
              <a:t>, cum </a:t>
            </a:r>
            <a:r>
              <a:rPr lang="en-US" err="1"/>
              <a:t>adi</a:t>
            </a:r>
            <a:r>
              <a:rPr lang="en-US"/>
              <a:t> </a:t>
            </a:r>
            <a:r>
              <a:rPr lang="en-US" err="1"/>
              <a:t>blaut</a:t>
            </a:r>
            <a:r>
              <a:rPr lang="en-US"/>
              <a:t> </a:t>
            </a:r>
            <a:r>
              <a:rPr lang="en-US" err="1"/>
              <a:t>miligen</a:t>
            </a:r>
            <a:r>
              <a:rPr lang="en-US"/>
              <a:t> </a:t>
            </a:r>
            <a:r>
              <a:rPr lang="en-US" err="1"/>
              <a:t>tiorit</a:t>
            </a:r>
            <a:r>
              <a:rPr lang="en-US"/>
              <a:t> </a:t>
            </a:r>
            <a:r>
              <a:rPr lang="en-US" err="1"/>
              <a:t>molorib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harum</a:t>
            </a:r>
            <a:r>
              <a:rPr lang="en-US"/>
              <a:t> </a:t>
            </a:r>
            <a:r>
              <a:rPr lang="en-US" err="1"/>
              <a:t>eatendi</a:t>
            </a:r>
            <a:r>
              <a:rPr lang="en-US"/>
              <a:t> </a:t>
            </a:r>
            <a:r>
              <a:rPr lang="en-US" err="1"/>
              <a:t>dolessus</a:t>
            </a:r>
            <a:r>
              <a:rPr lang="en-US"/>
              <a:t> </a:t>
            </a:r>
            <a:r>
              <a:rPr lang="en-US" err="1"/>
              <a:t>ero</a:t>
            </a:r>
            <a:r>
              <a:rPr lang="en-US"/>
              <a:t> </a:t>
            </a:r>
            <a:r>
              <a:rPr lang="en-US" err="1"/>
              <a:t>mos</a:t>
            </a:r>
            <a:r>
              <a:rPr lang="en-US"/>
              <a:t> </a:t>
            </a:r>
            <a:r>
              <a:rPr lang="en-US" err="1"/>
              <a:t>restionseque</a:t>
            </a:r>
            <a:r>
              <a:rPr lang="en-US"/>
              <a:t> </a:t>
            </a:r>
            <a:r>
              <a:rPr lang="en-US" err="1"/>
              <a:t>dist</a:t>
            </a:r>
            <a:r>
              <a:rPr lang="en-US"/>
              <a:t>, cone nit </a:t>
            </a:r>
            <a:r>
              <a:rPr lang="en-US" err="1"/>
              <a:t>iducips</a:t>
            </a:r>
            <a:r>
              <a:rPr lang="en-US"/>
              <a:t> </a:t>
            </a:r>
            <a:r>
              <a:rPr lang="en-US" err="1"/>
              <a:t>ustionem</a:t>
            </a:r>
            <a:r>
              <a:rPr lang="en-US"/>
              <a:t> </a:t>
            </a:r>
            <a:r>
              <a:rPr lang="en-US" err="1"/>
              <a:t>volecturitia</a:t>
            </a:r>
            <a:r>
              <a:rPr lang="en-US"/>
              <a:t> dis </a:t>
            </a:r>
            <a:r>
              <a:rPr lang="en-US" err="1"/>
              <a:t>ducimusam</a:t>
            </a:r>
            <a:r>
              <a:rPr lang="en-US"/>
              <a:t> </a:t>
            </a:r>
            <a:r>
              <a:rPr lang="en-US" err="1"/>
              <a:t>faccu</a:t>
            </a:r>
            <a:r>
              <a:rPr lang="en-US"/>
              <a:t>, sim </a:t>
            </a:r>
            <a:r>
              <a:rPr lang="en-US" err="1"/>
              <a:t>apitas</a:t>
            </a:r>
            <a:r>
              <a:rPr lang="en-US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3911377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44">
          <p15:clr>
            <a:srgbClr val="FBAE40"/>
          </p15:clr>
        </p15:guide>
        <p15:guide id="2" orient="horz" pos="4320">
          <p15:clr>
            <a:srgbClr val="FBAE40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BE12A75E-C73B-45A8-A561-08743CF5CDC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86400" y="2"/>
            <a:ext cx="5486400" cy="82295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indent="0" algn="ctr">
              <a:buNone/>
              <a:defRPr lang="en-US" sz="105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sz="826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922C94E-F4A0-9440-874C-4F8A8769ADB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922C94E-F4A0-9440-874C-4F8A8769AD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0FB860-59F4-0949-81E8-923023D66D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114" y="7615682"/>
            <a:ext cx="336252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748E0B-8131-E648-BBB2-5304F9040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C8FD689-E95A-7C48-B4DE-AFFF822A82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8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Key take away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7B54C4-C5A0-0B4E-8CD3-36B196B143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4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 am que pro </a:t>
            </a:r>
            <a:r>
              <a:rPr lang="en-US" err="1"/>
              <a:t>berrunti</a:t>
            </a:r>
            <a:r>
              <a:rPr lang="en-US"/>
              <a:t> re quo </a:t>
            </a:r>
            <a:r>
              <a:rPr lang="en-US" err="1"/>
              <a:t>iminimus</a:t>
            </a:r>
            <a:r>
              <a:rPr lang="en-US"/>
              <a:t> </a:t>
            </a:r>
            <a:r>
              <a:rPr lang="en-US" err="1"/>
              <a:t>ute</a:t>
            </a:r>
            <a:r>
              <a:rPr lang="en-US"/>
              <a:t> es el </a:t>
            </a:r>
            <a:r>
              <a:rPr lang="en-US" err="1"/>
              <a:t>estiam</a:t>
            </a:r>
            <a:r>
              <a:rPr lang="en-US"/>
              <a:t> ex </a:t>
            </a:r>
            <a:r>
              <a:rPr lang="en-US" err="1"/>
              <a:t>excearuptae</a:t>
            </a:r>
            <a:r>
              <a:rPr lang="en-US"/>
              <a:t>. </a:t>
            </a:r>
            <a:r>
              <a:rPr lang="en-US" err="1"/>
              <a:t>Uga</a:t>
            </a:r>
            <a:r>
              <a:rPr lang="en-US"/>
              <a:t>. Ut et </a:t>
            </a:r>
            <a:r>
              <a:rPr lang="en-US" err="1"/>
              <a:t>aliquas</a:t>
            </a:r>
            <a:r>
              <a:rPr lang="en-US"/>
              <a:t> </a:t>
            </a:r>
            <a:r>
              <a:rPr lang="en-US" err="1"/>
              <a:t>mos</a:t>
            </a:r>
            <a:r>
              <a:rPr lang="en-US"/>
              <a:t> </a:t>
            </a:r>
            <a:r>
              <a:rPr lang="en-US" err="1"/>
              <a:t>eos</a:t>
            </a:r>
            <a:r>
              <a:rPr lang="en-US"/>
              <a:t> </a:t>
            </a:r>
            <a:r>
              <a:rPr lang="en-US" err="1"/>
              <a:t>natur</a:t>
            </a:r>
            <a:r>
              <a:rPr lang="en-US"/>
              <a:t>,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ute</a:t>
            </a:r>
            <a:r>
              <a:rPr lang="en-US"/>
              <a:t> </a:t>
            </a:r>
            <a:r>
              <a:rPr lang="en-US" err="1"/>
              <a:t>duciisq</a:t>
            </a:r>
            <a:r>
              <a:rPr lang="en-US"/>
              <a:t> </a:t>
            </a:r>
            <a:r>
              <a:rPr lang="en-US" err="1"/>
              <a:t>uatbus</a:t>
            </a:r>
            <a:r>
              <a:rPr lang="en-US"/>
              <a:t>, </a:t>
            </a:r>
            <a:r>
              <a:rPr lang="en-US" err="1"/>
              <a:t>aut</a:t>
            </a:r>
            <a:r>
              <a:rPr lang="en-US"/>
              <a:t> quos mod non </a:t>
            </a:r>
            <a:r>
              <a:rPr lang="en-US" err="1"/>
              <a:t>rerorer</a:t>
            </a:r>
            <a:r>
              <a:rPr lang="en-US"/>
              <a:t> </a:t>
            </a:r>
            <a:r>
              <a:rPr lang="en-US" err="1"/>
              <a:t>spelicil</a:t>
            </a:r>
            <a:r>
              <a:rPr lang="en-US"/>
              <a:t> </a:t>
            </a:r>
            <a:r>
              <a:rPr lang="en-US" err="1"/>
              <a:t>mo</a:t>
            </a:r>
            <a:r>
              <a:rPr lang="en-US"/>
              <a:t> </a:t>
            </a:r>
            <a:r>
              <a:rPr lang="en-US" err="1"/>
              <a:t>te</a:t>
            </a:r>
            <a:r>
              <a:rPr lang="en-US"/>
              <a:t> </a:t>
            </a:r>
            <a:r>
              <a:rPr lang="en-US" err="1"/>
              <a:t>eatia</a:t>
            </a:r>
            <a:r>
              <a:rPr lang="en-US"/>
              <a:t> </a:t>
            </a:r>
            <a:r>
              <a:rPr lang="en-US" err="1"/>
              <a:t>seque</a:t>
            </a:r>
            <a:r>
              <a:rPr lang="en-US"/>
              <a:t> </a:t>
            </a:r>
            <a:r>
              <a:rPr lang="en-US" err="1"/>
              <a:t>officit</a:t>
            </a:r>
            <a:r>
              <a:rPr lang="en-US"/>
              <a:t> </a:t>
            </a:r>
            <a:r>
              <a:rPr lang="en-US" err="1"/>
              <a:t>ventium</a:t>
            </a:r>
            <a:r>
              <a:rPr lang="en-US"/>
              <a:t> </a:t>
            </a:r>
            <a:r>
              <a:rPr lang="en-US" err="1"/>
              <a:t>nulpa</a:t>
            </a:r>
            <a:r>
              <a:rPr lang="en-US"/>
              <a:t> </a:t>
            </a:r>
            <a:r>
              <a:rPr lang="en-US" err="1"/>
              <a:t>si</a:t>
            </a:r>
            <a:r>
              <a:rPr lang="en-US"/>
              <a:t> </a:t>
            </a:r>
            <a:r>
              <a:rPr lang="en-US" err="1"/>
              <a:t>quist</a:t>
            </a:r>
            <a:r>
              <a:rPr lang="en-US"/>
              <a:t>, quid </a:t>
            </a:r>
            <a:r>
              <a:rPr lang="en-US" err="1"/>
              <a:t>earum</a:t>
            </a:r>
            <a:r>
              <a:rPr lang="en-US"/>
              <a:t>, cum </a:t>
            </a:r>
            <a:r>
              <a:rPr lang="en-US" err="1"/>
              <a:t>adi</a:t>
            </a:r>
            <a:r>
              <a:rPr lang="en-US"/>
              <a:t> </a:t>
            </a:r>
            <a:r>
              <a:rPr lang="en-US" err="1"/>
              <a:t>blaut</a:t>
            </a:r>
            <a:r>
              <a:rPr lang="en-US"/>
              <a:t> </a:t>
            </a:r>
            <a:r>
              <a:rPr lang="en-US" err="1"/>
              <a:t>miligen</a:t>
            </a:r>
            <a:r>
              <a:rPr lang="en-US"/>
              <a:t> </a:t>
            </a:r>
            <a:r>
              <a:rPr lang="en-US" err="1"/>
              <a:t>tiorit</a:t>
            </a:r>
            <a:r>
              <a:rPr lang="en-US"/>
              <a:t> </a:t>
            </a:r>
            <a:r>
              <a:rPr lang="en-US" err="1"/>
              <a:t>moloribus</a:t>
            </a:r>
            <a:r>
              <a:rPr lang="en-US"/>
              <a:t> </a:t>
            </a:r>
            <a:r>
              <a:rPr lang="en-US" err="1"/>
              <a:t>est</a:t>
            </a:r>
            <a:r>
              <a:rPr lang="en-US"/>
              <a:t>,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harum</a:t>
            </a:r>
            <a:r>
              <a:rPr lang="en-US"/>
              <a:t> </a:t>
            </a:r>
            <a:r>
              <a:rPr lang="en-US" err="1"/>
              <a:t>eatendi</a:t>
            </a:r>
            <a:r>
              <a:rPr lang="en-US"/>
              <a:t> </a:t>
            </a:r>
            <a:r>
              <a:rPr lang="en-US" err="1"/>
              <a:t>dolessus</a:t>
            </a:r>
            <a:r>
              <a:rPr lang="en-US"/>
              <a:t> </a:t>
            </a:r>
            <a:r>
              <a:rPr lang="en-US" err="1"/>
              <a:t>ero</a:t>
            </a:r>
            <a:r>
              <a:rPr lang="en-US"/>
              <a:t> </a:t>
            </a:r>
            <a:r>
              <a:rPr lang="en-US" err="1"/>
              <a:t>mos</a:t>
            </a:r>
            <a:r>
              <a:rPr lang="en-US"/>
              <a:t> </a:t>
            </a:r>
            <a:r>
              <a:rPr lang="en-US" err="1"/>
              <a:t>restionseque</a:t>
            </a:r>
            <a:r>
              <a:rPr lang="en-US"/>
              <a:t> </a:t>
            </a:r>
            <a:r>
              <a:rPr lang="en-US" err="1"/>
              <a:t>dist</a:t>
            </a:r>
            <a:r>
              <a:rPr lang="en-US"/>
              <a:t>, cone nit </a:t>
            </a:r>
            <a:r>
              <a:rPr lang="en-US" err="1"/>
              <a:t>iducips</a:t>
            </a:r>
            <a:r>
              <a:rPr lang="en-US"/>
              <a:t> </a:t>
            </a:r>
            <a:r>
              <a:rPr lang="en-US" err="1"/>
              <a:t>ustionem</a:t>
            </a:r>
            <a:r>
              <a:rPr lang="en-US"/>
              <a:t> </a:t>
            </a:r>
            <a:r>
              <a:rPr lang="en-US" err="1"/>
              <a:t>volecturitia</a:t>
            </a:r>
            <a:r>
              <a:rPr lang="en-US"/>
              <a:t> dis </a:t>
            </a:r>
            <a:r>
              <a:rPr lang="en-US" err="1"/>
              <a:t>ducimusam</a:t>
            </a:r>
            <a:r>
              <a:rPr lang="en-US"/>
              <a:t> </a:t>
            </a:r>
            <a:r>
              <a:rPr lang="en-US" err="1"/>
              <a:t>faccu</a:t>
            </a:r>
            <a:r>
              <a:rPr lang="en-US"/>
              <a:t>, sim </a:t>
            </a:r>
            <a:r>
              <a:rPr lang="en-US" err="1"/>
              <a:t>apitas</a:t>
            </a:r>
            <a:r>
              <a:rPr lang="en-US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828981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86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0A546B-7379-9E4C-B1FE-0EC6D6F396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0A546B-7379-9E4C-B1FE-0EC6D6F396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0" y="4800600"/>
            <a:ext cx="1097678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7F96F0-9F1C-DD40-8D68-283BAD32A2E5}"/>
              </a:ext>
            </a:extLst>
          </p:cNvPr>
          <p:cNvCxnSpPr>
            <a:cxnSpLocks/>
          </p:cNvCxnSpPr>
          <p:nvPr userDrawn="1"/>
        </p:nvCxnSpPr>
        <p:spPr>
          <a:xfrm>
            <a:off x="2738168" y="2187554"/>
            <a:ext cx="0" cy="521208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EBE62145-C6F1-DD41-953C-FEDE5899126A}"/>
              </a:ext>
            </a:extLst>
          </p:cNvPr>
          <p:cNvSpPr txBox="1">
            <a:spLocks/>
          </p:cNvSpPr>
          <p:nvPr userDrawn="1"/>
        </p:nvSpPr>
        <p:spPr>
          <a:xfrm>
            <a:off x="412395" y="4716383"/>
            <a:ext cx="498226" cy="932574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500" b="1" kern="1200">
                <a:solidFill>
                  <a:srgbClr val="002677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851" b="0" i="0">
              <a:solidFill>
                <a:srgbClr val="73BF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5485096" y="2170166"/>
            <a:ext cx="0" cy="521208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225538" y="2128180"/>
            <a:ext cx="0" cy="521208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31AA5DA-4C98-CD4C-BD82-BFADF2AA8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81606218-C785-CE4E-9E24-2F2029B69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F7A6862-765C-774A-B229-13D1652D14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5757D10-F62F-4740-B9A7-A48353969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F03B161-7BA1-2F4B-AE38-205D5A420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A03C70C-3C27-4640-9452-11619D59B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8" y="3657664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CE675BB-4ECC-A44C-8B18-9AAA1966A3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8" y="3657664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DDDD741-B28C-C44C-B72E-4BB6314DCC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8" y="3657664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0DAB2C6-4974-DE4D-BEB1-6C2F305BFD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9125A92-6D79-104E-99F9-9A81371C1D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0D5A265-D3C0-4143-B509-8F19D16791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D71A2BD7-A04D-D74D-8969-D3A70A8815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346B2C6-55F3-F743-A910-5D70D9F4CB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3" y="49602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8751F895-446E-B74F-836C-BD9C179DC6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8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DE878C6-0442-DC4D-9096-E8825B38CC0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8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10E830AD-B157-6E41-B1CC-07B3AE7824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8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chemeClr val="tx2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C401C74-0372-DF4B-8B59-42DDBED2BE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3" y="49602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9FC9668-2DD8-A94F-A954-E37D86C3A6B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3" y="49602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0DD6D32-1F14-104B-A68A-F649E5E2399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3" y="49602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chemeClr val="accent1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95875568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5DE728E-C686-4544-A4AF-7407D6714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5DE728E-C686-4544-A4AF-7407D6714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C1CA15B-0DC0-FA49-85C2-FA530C8F30B5}"/>
              </a:ext>
            </a:extLst>
          </p:cNvPr>
          <p:cNvSpPr/>
          <p:nvPr userDrawn="1"/>
        </p:nvSpPr>
        <p:spPr>
          <a:xfrm>
            <a:off x="6" y="2286000"/>
            <a:ext cx="2740457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16500F-B1A9-4645-882F-C86D370553D8}"/>
              </a:ext>
            </a:extLst>
          </p:cNvPr>
          <p:cNvSpPr/>
          <p:nvPr userDrawn="1"/>
        </p:nvSpPr>
        <p:spPr>
          <a:xfrm>
            <a:off x="2736371" y="2285998"/>
            <a:ext cx="2740457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448808-F38D-0243-B81C-1B75E52611FF}"/>
              </a:ext>
            </a:extLst>
          </p:cNvPr>
          <p:cNvSpPr/>
          <p:nvPr userDrawn="1"/>
        </p:nvSpPr>
        <p:spPr>
          <a:xfrm>
            <a:off x="5472733" y="2285998"/>
            <a:ext cx="2740457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solidFill>
                <a:srgbClr val="73C0FF"/>
              </a:solidFill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25F0D-9D79-944D-98C3-79128E3BF0BA}"/>
              </a:ext>
            </a:extLst>
          </p:cNvPr>
          <p:cNvSpPr/>
          <p:nvPr userDrawn="1"/>
        </p:nvSpPr>
        <p:spPr>
          <a:xfrm>
            <a:off x="8217614" y="2285998"/>
            <a:ext cx="2758001" cy="5029202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FF31F-07CC-8D41-8031-CFAEFCE4A73B}"/>
              </a:ext>
            </a:extLst>
          </p:cNvPr>
          <p:cNvCxnSpPr/>
          <p:nvPr userDrawn="1"/>
        </p:nvCxnSpPr>
        <p:spPr>
          <a:xfrm>
            <a:off x="2736364" y="2206658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C9DC4D7-1B1E-174C-940D-A3793C843D01}"/>
              </a:ext>
            </a:extLst>
          </p:cNvPr>
          <p:cNvCxnSpPr/>
          <p:nvPr userDrawn="1"/>
        </p:nvCxnSpPr>
        <p:spPr>
          <a:xfrm>
            <a:off x="5465474" y="2181946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93BB7E-F5F2-E649-8033-7166E90A7207}"/>
              </a:ext>
            </a:extLst>
          </p:cNvPr>
          <p:cNvCxnSpPr/>
          <p:nvPr userDrawn="1"/>
        </p:nvCxnSpPr>
        <p:spPr>
          <a:xfrm>
            <a:off x="8213184" y="2194302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80002C4-0FB2-5844-A675-D6F402F57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1DD1F092-6564-A645-82F4-978A0E34CD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D7F8090-242A-7D45-B018-EC8BB81EF6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739A91B-ECAC-694E-B1D4-B08743F7A7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3DFE6B0-7DF2-6642-83E1-66F1093474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5442459-8373-1A41-9688-B9B8082602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8" y="3657664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9672854A-915C-CB40-9798-89F42D35DA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8" y="3657664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6F2C4F87-A008-5845-BCBD-D3097A7558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8" y="3657664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7108E50-1C2C-2B4B-B315-85FB3DD1EC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77F7913-4904-164E-A7C4-69D8433AC5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2501913-11BF-844A-B7B0-1D42A71BA73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3" y="2471061"/>
            <a:ext cx="990749" cy="9905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33065493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4BF40A1-7170-F240-92EA-070FE9A5E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4BF40A1-7170-F240-92EA-070FE9A5E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19B78F-2807-5245-98EE-F6A82E1A2F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496" y="8574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4633B1D-AC27-E94D-AA0E-9F5B3708B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50415E8B-755D-B841-826D-006A9869D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A47CD7A-DCEA-9B4A-A306-119FACB2F4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5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3CD94B0-BCE2-B54F-B93A-64383F7B9C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9496" y="22290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B1765562-A1E1-F14A-9E08-7D21F2BC5B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496" y="36006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4904B6E2-3755-BA49-B34E-50B16EA2E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496" y="49722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1EEA9482-D32A-1F40-AF1B-6D81BD7A7F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496" y="63438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DB85DB-1B52-0941-93F1-D829144517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2587" y="662798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6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34A170DD-EBEC-224A-B549-967955987D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2587" y="2044790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6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3A43B0B-CA3B-544A-BB07-1F0E6C9B8F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2587" y="3426781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6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3530151-C1A5-6E4C-AA66-AC4690EF69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587" y="4787990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6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EACE6F3-1318-A245-AD4A-807A31CB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2587" y="6159590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6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11455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76">
          <p15:clr>
            <a:srgbClr val="FBAE40"/>
          </p15:clr>
        </p15:guide>
        <p15:guide id="2" pos="6264">
          <p15:clr>
            <a:srgbClr val="FBAE40"/>
          </p15:clr>
        </p15:guide>
        <p15:guide id="3" orient="horz" pos="528">
          <p15:clr>
            <a:srgbClr val="FBAE40"/>
          </p15:clr>
        </p15:guide>
        <p15:guide id="10" orient="horz" pos="960">
          <p15:clr>
            <a:srgbClr val="FBAE40"/>
          </p15:clr>
        </p15:guide>
        <p15:guide id="11" orient="horz" pos="1824">
          <p15:clr>
            <a:srgbClr val="FBAE40"/>
          </p15:clr>
        </p15:guide>
        <p15:guide id="12" orient="horz" pos="1392">
          <p15:clr>
            <a:srgbClr val="FBAE40"/>
          </p15:clr>
        </p15:guide>
        <p15:guide id="13" orient="horz" pos="2256">
          <p15:clr>
            <a:srgbClr val="FBAE40"/>
          </p15:clr>
        </p15:guide>
        <p15:guide id="14" orient="horz" pos="2688">
          <p15:clr>
            <a:srgbClr val="FBAE40"/>
          </p15:clr>
        </p15:guide>
        <p15:guide id="15" orient="horz" pos="3120">
          <p15:clr>
            <a:srgbClr val="FBAE40"/>
          </p15:clr>
        </p15:guide>
        <p15:guide id="16" orient="horz" pos="3552">
          <p15:clr>
            <a:srgbClr val="FBAE40"/>
          </p15:clr>
        </p15:guide>
        <p15:guide id="17" orient="horz" pos="3984">
          <p15:clr>
            <a:srgbClr val="FBAE40"/>
          </p15:clr>
        </p15:guide>
        <p15:guide id="18" orient="horz" pos="4416">
          <p15:clr>
            <a:srgbClr val="FBAE4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9338EF4-6BB8-904C-9EED-BF09FBA0DE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9338EF4-6BB8-904C-9EED-BF09FBA0DE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8EAB05D-6023-6446-871F-F643EB21D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70253" y="8121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F8DC07FD-97E5-F849-914D-DDA379D30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758084B5-043A-364E-9017-9761E1269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27CA6C2-022E-7940-AB20-7F6D6EBEE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5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FBF50EC3-1DAF-2A41-A49D-6ECDAE7789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0253" y="21837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35A0945B-E76F-EC46-BB22-719D229440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0253" y="3591950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4EFCA974-995E-834E-B32B-39B4D905F2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70253" y="49269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71B36F53-D480-034F-900B-A3132AEAA1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0253" y="62985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881FD484-AB12-C645-92DC-2AEC6A14E5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5719" y="8121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80" name="Text Placeholder 4">
            <a:extLst>
              <a:ext uri="{FF2B5EF4-FFF2-40B4-BE49-F238E27FC236}">
                <a16:creationId xmlns:a16="http://schemas.microsoft.com/office/drawing/2014/main" id="{925247B1-5841-8B47-ABB6-E3A3383F8F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55719" y="21837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3CB13209-88F5-E745-9B33-164E9BB2CA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5719" y="3591950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26C66067-50E5-9843-A3EA-12D8A95E04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55719" y="49269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AFFEDDAB-BD3E-FD47-8C4A-ED8CB817DF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55719" y="6298574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 goes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D0290E-155D-E042-8C37-BFE5C31CF3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2312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03850412-D5BD-1548-B6F8-95D26F3D2B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2312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37D55A63-6236-BE40-ABFF-90BF50E865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2312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7478E59C-481E-784F-8481-4C406642D3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2312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F49F66D-3EB4-C649-AA52-C1CE55D9E2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02312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77AFEA5E-3A24-F547-A539-252800FA175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9501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61404EC6-6819-F741-BB8E-B3A4BC3933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01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C89586CB-F15A-1F4A-9185-9AC4D760D9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9501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8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CBF71C3F-9226-064A-8CCD-B2F930C7F1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29501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9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94A6A3D4-EDAB-5D4D-9BD5-77EDF50FBB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29501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041197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504">
          <p15:clr>
            <a:srgbClr val="FBAE40"/>
          </p15:clr>
        </p15:guide>
        <p15:guide id="14" orient="horz" pos="1368">
          <p15:clr>
            <a:srgbClr val="FBAE40"/>
          </p15:clr>
        </p15:guide>
        <p15:guide id="16" orient="horz" pos="3000">
          <p15:clr>
            <a:srgbClr val="FBAE40"/>
          </p15:clr>
        </p15:guide>
        <p15:guide id="17" orient="horz" pos="3864">
          <p15:clr>
            <a:srgbClr val="FBAE40"/>
          </p15:clr>
        </p15:guide>
        <p15:guide id="19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8F26D51-4839-0F4E-B752-B21A815B3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0CA9EEFB-C3EC-304A-843D-00359DB0B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F29C42D-3970-FF4C-BB9F-A1D9C3181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8187350-B34C-1448-A83B-3FAB83DDCC7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9873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55811FEA-2285-D345-962B-647DA797287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737151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FA163D3-BDF9-824E-8A4D-5BB4C9B224A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50994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43BBC51-E2C6-6046-8946-0951A903C8F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A851CCA-57B3-0046-9BD6-FC83A05AD7B7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734447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0A90DF1F-2517-4741-8F3A-634C7A7CE3B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7248065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35C852C2-C2A7-EA43-906E-C79B168FE0D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3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C8E18A9-E9D3-D642-BEEA-AC621C4D853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26156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C3D1D24F-ABFE-E742-8B7F-DB0A53E74E5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247067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30570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064" userDrawn="1">
          <p15:clr>
            <a:srgbClr val="FBAE40"/>
          </p15:clr>
        </p15:guide>
        <p15:guide id="6" orient="horz" pos="2664" userDrawn="1">
          <p15:clr>
            <a:srgbClr val="FBAE40"/>
          </p15:clr>
        </p15:guide>
        <p15:guide id="9" orient="horz" pos="2880" userDrawn="1">
          <p15:clr>
            <a:srgbClr val="FBAE40"/>
          </p15:clr>
        </p15:guide>
        <p15:guide id="10" orient="horz" pos="3024" userDrawn="1">
          <p15:clr>
            <a:srgbClr val="FBAE40"/>
          </p15:clr>
        </p15:guide>
        <p15:guide id="11" orient="horz" pos="1896" userDrawn="1">
          <p15:clr>
            <a:srgbClr val="FBAE40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84EC76-FC47-204F-9D39-63E811D06E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84EC76-FC47-204F-9D39-63E811D06E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233E17E-5377-C24C-AD2C-39BA429667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75213" y="2684116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9E43623-1ADA-7C4F-923F-B58B9AC621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75615" y="3072416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394B72A7-E3E8-CC4B-816F-2A1593643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6803EFAD-4A5C-C948-9D16-079F72932A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EEC7578-AE97-504B-991A-7FA2939B95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Next step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42DD4E-0A20-B240-8C4D-8BCDA14E68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2851" y="2684116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24234E21-09D7-5244-A79E-3EF2C41AF6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61363" y="2684116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3B433C64-5662-864A-870D-E0F2479AA8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1765" y="3072416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C5D9B63E-206A-3A42-ABB9-F04E60D4BA4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39001" y="2684116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136B03FB-33C3-BF4C-BD6F-3A81C31A82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75213" y="4512916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DDC4BDDB-4701-C141-9543-D26BEB144D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75615" y="4901216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1173C913-F578-7342-9BC9-2B905AF7CD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2851" y="4512916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55DE7C74-C751-4E43-9361-A930663D3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89469" y="4512916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786A57D-7605-784A-AC6B-BF9BEFC55E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89871" y="4901216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09B95635-2B14-0347-8AF2-D0FAD5D48F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39001" y="4512916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1F9206FB-46D1-C640-8F1C-714F8758E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5213" y="6341716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E6731DF6-8C41-D241-A94C-ADA9924643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75615" y="6730016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A9B41717-A488-8A47-9468-F9BCDA4DA76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52851" y="6341716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6F3697DF-F2C0-B74B-8B8E-F5F04C77CE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61363" y="6341716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10208B9-EBAF-024B-BDBD-B821C46A56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61765" y="6730016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54CB2744-2AEB-A64E-A434-B328B74315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39001" y="6341716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54387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8">
          <p15:clr>
            <a:srgbClr val="FBAE40"/>
          </p15:clr>
        </p15:guide>
        <p15:guide id="2" orient="horz" pos="2760">
          <p15:clr>
            <a:srgbClr val="FBAE40"/>
          </p15:clr>
        </p15:guide>
        <p15:guide id="3" orient="horz" pos="3912">
          <p15:clr>
            <a:srgbClr val="FBAE40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CD79644-E311-654B-ACA7-9231F5E36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CD79644-E311-654B-ACA7-9231F5E36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49F6C18-672B-6D42-AB0F-130596F63B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227" y="3595481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AE060BD-0D8D-AC48-B242-3D34AEB41A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338" y="3600244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E65A059-C9EF-5943-BA43-199F504186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740" y="3886323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959E8D8-29F1-5349-9971-B3AA686A06A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85694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1C7E403-B04F-3848-AA7A-F9B6DFE9E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4E65AF74-1A2C-7942-BD65-558510A5D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FC0581F5-3E5A-DA48-881F-B8EFB4BB92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Next step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965E4C8F-20DC-F14A-B44E-3F7E87F1F1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71227" y="4372230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DC419921-BA25-2B4A-9CB5-A793190FC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6338" y="4376993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1D1A00A-B705-8E43-8323-117F0DB240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6740" y="466307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2D523B49-04C1-A14E-A925-C8DD012D948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1227" y="512931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EE1E5A43-18B8-1C49-9497-4F8D82728F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26338" y="513407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456B82D8-A834-8946-B02E-1F7D9A55D72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26740" y="5420155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81" name="Text Placeholder 6">
            <a:extLst>
              <a:ext uri="{FF2B5EF4-FFF2-40B4-BE49-F238E27FC236}">
                <a16:creationId xmlns:a16="http://schemas.microsoft.com/office/drawing/2014/main" id="{56DA5C01-615A-3643-BC66-AE15D94EDC1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39663" y="3595481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25CCAAA3-6015-3F4B-B023-B81444EFE0A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884834" y="3600244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A5E5A7AE-63E1-784A-87DD-1DE0312E4F9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85236" y="3886323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6809CFD5-9BE2-8045-BD0C-E698D422FFE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744190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C8957327-30F9-B749-8498-2440755D3C5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39663" y="4372230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86D19F5B-2AB4-D249-BE7E-FD771DA3201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884834" y="4376993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F4EB2C70-48DD-D944-B694-9F7B7CD69C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85236" y="466307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64897C1A-999F-9D4B-A596-4F9CAACDD00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39663" y="512931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8D397C40-4DC5-4445-B464-53C3CB07C93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884834" y="513407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113D492-3C03-3645-A76F-9EEF73E411B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85236" y="5420155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D2FC71B6-5562-404E-B4B3-00BEDAA72A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125090" y="3595481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0DB6E01-C880-7341-8958-191BE9B1D83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380201" y="3600244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A5643017-2779-164D-98A0-86FBA4A1A74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80604" y="3886323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0BDBF304-9ADB-074D-AFB5-3D74DEF9947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239559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9444EB5-1948-0849-9BC7-58738B23599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125090" y="4372230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8BCF6EE2-7E27-6E45-AF82-5B17571C46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80201" y="4376993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15770356-D330-744A-90AC-0ACD21FF99F1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380604" y="466307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  <p:sp>
        <p:nvSpPr>
          <p:cNvPr id="101" name="Text Placeholder 6">
            <a:extLst>
              <a:ext uri="{FF2B5EF4-FFF2-40B4-BE49-F238E27FC236}">
                <a16:creationId xmlns:a16="http://schemas.microsoft.com/office/drawing/2014/main" id="{397FDE7A-50BE-F845-B7E5-28121B8F2C2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125090" y="512931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102" name="Text Placeholder 4">
            <a:extLst>
              <a:ext uri="{FF2B5EF4-FFF2-40B4-BE49-F238E27FC236}">
                <a16:creationId xmlns:a16="http://schemas.microsoft.com/office/drawing/2014/main" id="{A60858A7-F957-354C-A57C-6D17B5A8F2D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380201" y="513407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AA3D5DC1-FBB5-9342-A859-51F4F92639D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380604" y="5420155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/>
            </a:lvl2pPr>
            <a:lvl3pPr marL="822899" indent="0">
              <a:buNone/>
              <a:defRPr/>
            </a:lvl3pPr>
            <a:lvl4pPr marL="1234349" indent="0">
              <a:buNone/>
              <a:defRPr/>
            </a:lvl4pPr>
            <a:lvl5pPr marL="1645798" indent="0">
              <a:buNone/>
              <a:defRPr/>
            </a:lvl5pPr>
          </a:lstStyle>
          <a:p>
            <a:pPr lvl="0"/>
            <a:r>
              <a:rPr lang="en-US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21889705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>
          <p15:clr>
            <a:srgbClr val="FBAE40"/>
          </p15:clr>
        </p15:guide>
        <p15:guide id="2" orient="horz" pos="1920">
          <p15:clr>
            <a:srgbClr val="FBAE40"/>
          </p15:clr>
        </p15:guide>
        <p15:guide id="3" orient="horz" pos="2304">
          <p15:clr>
            <a:srgbClr val="FBAE40"/>
          </p15:clr>
        </p15:guide>
        <p15:guide id="4" orient="horz" pos="2784">
          <p15:clr>
            <a:srgbClr val="FBAE40"/>
          </p15:clr>
        </p15:guide>
        <p15:guide id="5" orient="horz" pos="3264">
          <p15:clr>
            <a:srgbClr val="FBAE40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6AD9BCF-FEBE-2B4D-8A6F-A575C0162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6AD9BCF-FEBE-2B4D-8A6F-A575C0162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1E1E964-BB35-C14B-A64D-4257241E81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989" y="4927429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0BFFCA26-434C-CE4E-A257-6806FE4B47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053" y="4927429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1C953F-B03B-6646-AB55-F7BF6F3A3264}"/>
              </a:ext>
            </a:extLst>
          </p:cNvPr>
          <p:cNvSpPr/>
          <p:nvPr userDrawn="1"/>
        </p:nvSpPr>
        <p:spPr>
          <a:xfrm>
            <a:off x="342901" y="3770771"/>
            <a:ext cx="10302058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F876BA71-DB75-D143-9D78-E4418F55A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F3414ABB-41DD-C349-9DD9-A378E75F15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A0AD528-8BA5-4745-83BE-4E8596B126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Timeline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EDA40E52-AB06-4443-80A9-C39069B6BB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727" y="4927429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FABF79A3-EBA3-A242-A87F-1CDB425F10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80791" y="4927429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E5A97EB3-CB01-9B47-93D7-7E36048049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4342" y="26835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A95A14F7-38FE-8543-8DB1-37012A6014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87408" y="26835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CEFF965D-181D-F644-AFEE-6980A9931E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3756" y="26835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042AF19-B4A7-FB4C-A07D-68BB76B2F4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6822" y="26835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CBFC5376-560E-D041-BD45-F5ADBFD1A2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44556" y="26835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5CA867F4-5F30-9744-AB97-BB45337E5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7622" y="26835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6</a:t>
            </a:r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E88768E5-50B0-CA4E-BC1C-329BBA48E3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3852" y="4927429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4A5C5E22-88C9-5548-8A7D-64A398F4A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46919" y="4927429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5</a:t>
            </a: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FD9B511B-820B-D044-BD30-96B0BC717A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76189" y="4927429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580CCF4D-777C-E94B-8FCB-750BEEE760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99255" y="4927429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281068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728">
          <p15:clr>
            <a:srgbClr val="FBAE40"/>
          </p15:clr>
        </p15:guide>
        <p15:guide id="5" orient="horz" pos="3360">
          <p15:clr>
            <a:srgbClr val="FBAE40"/>
          </p15:clr>
        </p15:guide>
        <p15:guide id="6" orient="horz" pos="3096">
          <p15:clr>
            <a:srgbClr val="FBAE40"/>
          </p15:clr>
        </p15:guide>
        <p15:guide id="7" pos="1608">
          <p15:clr>
            <a:srgbClr val="FBAE40"/>
          </p15:clr>
        </p15:guide>
        <p15:guide id="8" pos="2784">
          <p15:clr>
            <a:srgbClr val="FBAE40"/>
          </p15:clr>
        </p15:guide>
        <p15:guide id="9" pos="3984">
          <p15:clr>
            <a:srgbClr val="FBAE40"/>
          </p15:clr>
        </p15:guide>
        <p15:guide id="10" pos="408">
          <p15:clr>
            <a:srgbClr val="FBAE40"/>
          </p15:clr>
        </p15:guide>
        <p15:guide id="11" pos="5184">
          <p15:clr>
            <a:srgbClr val="FBAE40"/>
          </p15:clr>
        </p15:guide>
        <p15:guide id="12" pos="6360">
          <p15:clr>
            <a:srgbClr val="FBAE40"/>
          </p15:clr>
        </p15:guide>
        <p15:guide id="13" orient="horz" pos="2376">
          <p15:clr>
            <a:srgbClr val="FBAE40"/>
          </p15:clr>
        </p15:guide>
        <p15:guide id="14" orient="horz" pos="1920">
          <p15:clr>
            <a:srgbClr val="FBAE40"/>
          </p15:clr>
        </p15:guide>
        <p15:guide id="15" orient="horz" pos="3000">
          <p15:clr>
            <a:srgbClr val="FBAE40"/>
          </p15:clr>
        </p15:guide>
        <p15:guide id="17" pos="7560">
          <p15:clr>
            <a:srgbClr val="FBAE40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DB07DE9-2835-3549-9012-F5E9F605B3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DB07DE9-2835-3549-9012-F5E9F605B3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4B62D430-3622-F944-8030-6A8F1702A9AA}"/>
              </a:ext>
            </a:extLst>
          </p:cNvPr>
          <p:cNvSpPr/>
          <p:nvPr userDrawn="1"/>
        </p:nvSpPr>
        <p:spPr>
          <a:xfrm>
            <a:off x="342901" y="3772558"/>
            <a:ext cx="10302058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66E90B9-8C95-6343-825C-E62C17A912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5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2F36EC5D-3297-5A42-828A-45B71BD1AF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547" y="4409639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Month 00 20XX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A6340B-A70E-6F40-BE52-184289247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555" y="5431073"/>
            <a:ext cx="2250167" cy="1884130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/>
              <a:t>Tur solute </a:t>
            </a:r>
            <a:r>
              <a:rPr lang="en-US" err="1"/>
              <a:t>haruntor</a:t>
            </a:r>
            <a:r>
              <a:rPr lang="en-US"/>
              <a:t> </a:t>
            </a:r>
            <a:r>
              <a:rPr lang="en-US" err="1"/>
              <a:t>saessequist</a:t>
            </a:r>
            <a:r>
              <a:rPr lang="en-US"/>
              <a:t>, </a:t>
            </a:r>
            <a:r>
              <a:rPr lang="en-US" err="1"/>
              <a:t>officiae</a:t>
            </a:r>
            <a:r>
              <a:rPr lang="en-US"/>
              <a:t> </a:t>
            </a:r>
            <a:r>
              <a:rPr lang="en-US" err="1"/>
              <a:t>suntem</a:t>
            </a:r>
            <a:r>
              <a:rPr lang="en-US"/>
              <a:t> </a:t>
            </a:r>
            <a:r>
              <a:rPr lang="en-US" err="1"/>
              <a:t>experia</a:t>
            </a:r>
            <a:r>
              <a:rPr lang="en-US"/>
              <a:t> que </a:t>
            </a:r>
            <a:r>
              <a:rPr lang="en-US" err="1"/>
              <a:t>pratibus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fuga</a:t>
            </a:r>
            <a:endParaRPr lang="en-US"/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BEA43C26-B1EF-6648-9CC6-CFB1FA869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329031D6-4137-624A-BE65-3322D8DA9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C2414C1-54C0-C94B-9BC0-67C132C49A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Timelin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54A16AA9-D999-6340-B30C-C3FF62A850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03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CC22A516-DCEB-E14E-A7DC-5023D339FB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0347" y="4409639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Month 00 20X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BF80794-4F55-3D45-80B7-D1BBC0FAE2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0355" y="5431073"/>
            <a:ext cx="2250167" cy="1884130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/>
              <a:t>Tur solute </a:t>
            </a:r>
            <a:r>
              <a:rPr lang="en-US" err="1"/>
              <a:t>haruntor</a:t>
            </a:r>
            <a:r>
              <a:rPr lang="en-US"/>
              <a:t> </a:t>
            </a:r>
            <a:r>
              <a:rPr lang="en-US" err="1"/>
              <a:t>saessequist</a:t>
            </a:r>
            <a:r>
              <a:rPr lang="en-US"/>
              <a:t>, </a:t>
            </a:r>
            <a:r>
              <a:rPr lang="en-US" err="1"/>
              <a:t>officiae</a:t>
            </a:r>
            <a:r>
              <a:rPr lang="en-US"/>
              <a:t> </a:t>
            </a:r>
            <a:r>
              <a:rPr lang="en-US" err="1"/>
              <a:t>suntem</a:t>
            </a:r>
            <a:r>
              <a:rPr lang="en-US"/>
              <a:t> </a:t>
            </a:r>
            <a:r>
              <a:rPr lang="en-US" err="1"/>
              <a:t>experia</a:t>
            </a:r>
            <a:r>
              <a:rPr lang="en-US"/>
              <a:t> que </a:t>
            </a:r>
            <a:r>
              <a:rPr lang="en-US" err="1"/>
              <a:t>pratibus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fuga</a:t>
            </a:r>
            <a:endParaRPr lang="en-US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05576ED1-0F9A-C64C-9C33-80A46C39B4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019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B62556C-5980-2147-816C-750E70BD0B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0197" y="4409639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Month 00 20XX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552DAF1-DF41-5A48-97D1-23DF191BA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80205" y="5431073"/>
            <a:ext cx="2250167" cy="1884130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/>
              <a:t>Tur solute </a:t>
            </a:r>
            <a:r>
              <a:rPr lang="en-US" err="1"/>
              <a:t>haruntor</a:t>
            </a:r>
            <a:r>
              <a:rPr lang="en-US"/>
              <a:t> </a:t>
            </a:r>
            <a:r>
              <a:rPr lang="en-US" err="1"/>
              <a:t>saessequist</a:t>
            </a:r>
            <a:r>
              <a:rPr lang="en-US"/>
              <a:t>, </a:t>
            </a:r>
            <a:r>
              <a:rPr lang="en-US" err="1"/>
              <a:t>officiae</a:t>
            </a:r>
            <a:r>
              <a:rPr lang="en-US"/>
              <a:t> </a:t>
            </a:r>
            <a:r>
              <a:rPr lang="en-US" err="1"/>
              <a:t>suntem</a:t>
            </a:r>
            <a:r>
              <a:rPr lang="en-US"/>
              <a:t> </a:t>
            </a:r>
            <a:r>
              <a:rPr lang="en-US" err="1"/>
              <a:t>experia</a:t>
            </a:r>
            <a:r>
              <a:rPr lang="en-US"/>
              <a:t> que </a:t>
            </a:r>
            <a:r>
              <a:rPr lang="en-US" err="1"/>
              <a:t>pratibus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fuga</a:t>
            </a:r>
            <a:endParaRPr lang="en-US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273E1958-B8AA-5346-8CD5-CB0E6A3D65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23372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Key timeline or milestone title here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3C3ABA36-8BC4-F84B-BA4A-7B8469D974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372" y="4409639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Month 00 20XX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7146BB8-C634-B04A-A59D-E158C3D07A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23381" y="5431073"/>
            <a:ext cx="2250167" cy="1884130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>
              <a:buNone/>
              <a:defRPr sz="1440">
                <a:latin typeface="Helvetica" pitchFamily="2" charset="0"/>
              </a:defRPr>
            </a:lvl2pPr>
            <a:lvl3pPr marL="822899" indent="0">
              <a:buNone/>
              <a:defRPr sz="1440">
                <a:latin typeface="Helvetica" pitchFamily="2" charset="0"/>
              </a:defRPr>
            </a:lvl3pPr>
            <a:lvl4pPr marL="1234349" indent="0">
              <a:buNone/>
              <a:defRPr sz="1440">
                <a:latin typeface="Helvetica" pitchFamily="2" charset="0"/>
              </a:defRPr>
            </a:lvl4pPr>
            <a:lvl5pPr marL="1645798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/>
              <a:t>Tur solute </a:t>
            </a:r>
            <a:r>
              <a:rPr lang="en-US" err="1"/>
              <a:t>haruntor</a:t>
            </a:r>
            <a:r>
              <a:rPr lang="en-US"/>
              <a:t> </a:t>
            </a:r>
            <a:r>
              <a:rPr lang="en-US" err="1"/>
              <a:t>saessequist</a:t>
            </a:r>
            <a:r>
              <a:rPr lang="en-US"/>
              <a:t>, </a:t>
            </a:r>
            <a:r>
              <a:rPr lang="en-US" err="1"/>
              <a:t>officiae</a:t>
            </a:r>
            <a:r>
              <a:rPr lang="en-US"/>
              <a:t> </a:t>
            </a:r>
            <a:r>
              <a:rPr lang="en-US" err="1"/>
              <a:t>suntem</a:t>
            </a:r>
            <a:r>
              <a:rPr lang="en-US"/>
              <a:t> </a:t>
            </a:r>
            <a:r>
              <a:rPr lang="en-US" err="1"/>
              <a:t>experia</a:t>
            </a:r>
            <a:r>
              <a:rPr lang="en-US"/>
              <a:t> que </a:t>
            </a:r>
            <a:r>
              <a:rPr lang="en-US" err="1"/>
              <a:t>pratibus</a:t>
            </a:r>
            <a:r>
              <a:rPr lang="en-US"/>
              <a:t> </a:t>
            </a:r>
            <a:r>
              <a:rPr lang="en-US" err="1"/>
              <a:t>eum</a:t>
            </a:r>
            <a:r>
              <a:rPr lang="en-US"/>
              <a:t> </a:t>
            </a:r>
            <a:r>
              <a:rPr lang="en-US" err="1"/>
              <a:t>fug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059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>
          <p15:clr>
            <a:srgbClr val="FBAE40"/>
          </p15:clr>
        </p15:guide>
        <p15:guide id="2" orient="horz" pos="3000">
          <p15:clr>
            <a:srgbClr val="FBAE40"/>
          </p15:clr>
        </p15:guide>
        <p15:guide id="3" pos="2472">
          <p15:clr>
            <a:srgbClr val="FBAE40"/>
          </p15:clr>
        </p15:guide>
        <p15:guide id="4" pos="4656">
          <p15:clr>
            <a:srgbClr val="FBAE40"/>
          </p15:clr>
        </p15:guide>
        <p15:guide id="5" pos="6792">
          <p15:clr>
            <a:srgbClr val="FBAE40"/>
          </p15:clr>
        </p15:guide>
        <p15:guide id="6" orient="horz" pos="2592">
          <p15:clr>
            <a:srgbClr val="FBAE40"/>
          </p15:clr>
        </p15:guide>
        <p15:guide id="7" orient="horz" pos="3288">
          <p15:clr>
            <a:srgbClr val="FBAE40"/>
          </p15:clr>
        </p15:guide>
        <p15:guide id="8" orient="horz" pos="3456">
          <p15:clr>
            <a:srgbClr val="FBAE40"/>
          </p15:clr>
        </p15:guide>
        <p15:guide id="9" orient="horz" pos="2448">
          <p15:clr>
            <a:srgbClr val="FBAE40"/>
          </p15:clr>
        </p15:guide>
        <p15:guide id="10" orient="horz" pos="2472">
          <p15:clr>
            <a:srgbClr val="FBAE40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slide_WT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32627A-659B-E049-A77F-3CA0745B00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332627A-659B-E049-A77F-3CA0745B00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10360E9-0E7D-2342-86B3-B6103E5F4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69861" y="2219019"/>
            <a:ext cx="3844898" cy="3302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33941D08-856F-1645-9A80-4ABD38A759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69861" y="2600110"/>
            <a:ext cx="3844898" cy="3336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79B1774-930E-394D-930F-D92245CA44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350" y="2180916"/>
            <a:ext cx="2050488" cy="2733984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C97095-39B7-954A-9DB4-39FA2B874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67DC740-58D2-1947-AC56-556FB3125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B313EF-A9DF-5E40-85D3-C09A19734C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Biograph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A6BBD3-2C50-E348-A08B-40C111DA31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69407" y="3390900"/>
            <a:ext cx="5217319" cy="3924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lang="en-US" sz="120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non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 </a:t>
            </a:r>
          </a:p>
          <a:p>
            <a:endParaRPr lang="en-US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lendeb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atqu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 es non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estin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e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isim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emo e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i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s 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e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sus</a:t>
            </a:r>
            <a:endParaRPr lang="en-US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endiass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ibus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itioremod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onsequ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tate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ate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T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m 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ovi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el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e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gnati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osaped</a:t>
            </a:r>
            <a:endParaRPr lang="en-US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cti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, que non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od quo</a:t>
            </a:r>
          </a:p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 pa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era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vend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nihil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71107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1824">
          <p15:clr>
            <a:srgbClr val="FBAE40"/>
          </p15:clr>
        </p15:guide>
        <p15:guide id="3" orient="horz" pos="2136">
          <p15:clr>
            <a:srgbClr val="FBAE40"/>
          </p15:clr>
        </p15:guide>
        <p15:guide id="6" pos="2016">
          <p15:clr>
            <a:srgbClr val="FBAE40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BC0D934-FFB8-D64F-949C-BFA833D2D8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BC0D934-FFB8-D64F-949C-BFA833D2D8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A11D87E-9102-8041-A545-614E56DC9B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9296" y="24636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708AF069-4AAF-8F4F-895F-5193037975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9296" y="27222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98D9EA-831F-1645-8FD6-80930C3F5C3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59476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5CA9C212-569D-2C4A-BD04-762202906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4C8B73F2-4891-2D4E-A20B-85B3FC606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282736A-63F0-2C4E-A20E-A06DC79A5B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5"/>
            <a:ext cx="7543800" cy="57583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Our Team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B884D121-85EE-F749-8D5B-A87A9656373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64612" y="304673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82" name="Text Placeholder 17">
            <a:extLst>
              <a:ext uri="{FF2B5EF4-FFF2-40B4-BE49-F238E27FC236}">
                <a16:creationId xmlns:a16="http://schemas.microsoft.com/office/drawing/2014/main" id="{F258A286-0285-2446-A5E2-62AADD2651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814877" y="24636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9863B9A-3E47-C74F-971E-887289AF0E3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814877" y="27222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84" name="Picture Placeholder 5">
            <a:extLst>
              <a:ext uri="{FF2B5EF4-FFF2-40B4-BE49-F238E27FC236}">
                <a16:creationId xmlns:a16="http://schemas.microsoft.com/office/drawing/2014/main" id="{7BB40C8F-E9CF-3445-A5E4-4882FDCA7B55}"/>
              </a:ext>
            </a:extLst>
          </p:cNvPr>
          <p:cNvSpPr>
            <a:spLocks noGrp="1" noChangeAspect="1"/>
          </p:cNvSpPr>
          <p:nvPr>
            <p:ph type="pic" sz="quarter" idx="60"/>
          </p:nvPr>
        </p:nvSpPr>
        <p:spPr>
          <a:xfrm>
            <a:off x="381505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73A3EEB5-64CB-DE4A-BC4A-03470206011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820193" y="304658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312194F6-FE3D-DC40-8824-EFB774D8E6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275627" y="24636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0C47C18-B73D-6D4F-B1B5-F704476D84B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75627" y="2725528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98" name="Picture Placeholder 5">
            <a:extLst>
              <a:ext uri="{FF2B5EF4-FFF2-40B4-BE49-F238E27FC236}">
                <a16:creationId xmlns:a16="http://schemas.microsoft.com/office/drawing/2014/main" id="{E2D2C08D-AE3C-EB4F-B4D8-EBD677A8390D}"/>
              </a:ext>
            </a:extLst>
          </p:cNvPr>
          <p:cNvSpPr>
            <a:spLocks noGrp="1" noChangeAspect="1"/>
          </p:cNvSpPr>
          <p:nvPr>
            <p:ph type="pic" sz="quarter" idx="72"/>
          </p:nvPr>
        </p:nvSpPr>
        <p:spPr>
          <a:xfrm>
            <a:off x="7275808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4655D302-B056-004F-AC7C-B2BE4208D00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280943" y="303940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107" name="Text Placeholder 17">
            <a:extLst>
              <a:ext uri="{FF2B5EF4-FFF2-40B4-BE49-F238E27FC236}">
                <a16:creationId xmlns:a16="http://schemas.microsoft.com/office/drawing/2014/main" id="{DBE1BC7B-6A59-F942-BFEA-E57DF606D480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280943" y="6640301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71B7768B-833A-A94C-B05A-3126E66608D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359296" y="427864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183997D2-5C79-1D4A-AAE5-51D8B9B8FE7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59296" y="453730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74" name="Picture Placeholder 5">
            <a:extLst>
              <a:ext uri="{FF2B5EF4-FFF2-40B4-BE49-F238E27FC236}">
                <a16:creationId xmlns:a16="http://schemas.microsoft.com/office/drawing/2014/main" id="{0E3BCFEA-B0BE-8141-8FCA-25C4534CC7E3}"/>
              </a:ext>
            </a:extLst>
          </p:cNvPr>
          <p:cNvSpPr>
            <a:spLocks noGrp="1" noChangeAspect="1"/>
          </p:cNvSpPr>
          <p:nvPr>
            <p:ph type="pic" sz="quarter" idx="84"/>
          </p:nvPr>
        </p:nvSpPr>
        <p:spPr>
          <a:xfrm>
            <a:off x="359476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4490CC13-6E18-5A40-98A9-EF6E9AB847E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12" y="4861787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DA89615A-F6B0-5443-870B-3A8B1863B7D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814877" y="427864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2B82D6AE-CE9E-2E45-A4A4-A92B7861A52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814877" y="453730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94" name="Picture Placeholder 5">
            <a:extLst>
              <a:ext uri="{FF2B5EF4-FFF2-40B4-BE49-F238E27FC236}">
                <a16:creationId xmlns:a16="http://schemas.microsoft.com/office/drawing/2014/main" id="{64E73F09-9168-FE44-9270-870FF6C0F304}"/>
              </a:ext>
            </a:extLst>
          </p:cNvPr>
          <p:cNvSpPr>
            <a:spLocks noGrp="1" noChangeAspect="1"/>
          </p:cNvSpPr>
          <p:nvPr>
            <p:ph type="pic" sz="quarter" idx="88"/>
          </p:nvPr>
        </p:nvSpPr>
        <p:spPr>
          <a:xfrm>
            <a:off x="381505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08" name="Text Placeholder 17">
            <a:extLst>
              <a:ext uri="{FF2B5EF4-FFF2-40B4-BE49-F238E27FC236}">
                <a16:creationId xmlns:a16="http://schemas.microsoft.com/office/drawing/2014/main" id="{8FA5C4D5-A77D-D441-81C0-D20227A39AF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275627" y="427864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09" name="Text Placeholder 17">
            <a:extLst>
              <a:ext uri="{FF2B5EF4-FFF2-40B4-BE49-F238E27FC236}">
                <a16:creationId xmlns:a16="http://schemas.microsoft.com/office/drawing/2014/main" id="{410C961D-B2A8-2F42-B8D6-8529C498A84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275627" y="4540577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10" name="Picture Placeholder 5">
            <a:extLst>
              <a:ext uri="{FF2B5EF4-FFF2-40B4-BE49-F238E27FC236}">
                <a16:creationId xmlns:a16="http://schemas.microsoft.com/office/drawing/2014/main" id="{69A3C0BF-6999-4C41-9E7C-6D22F9FECCE0}"/>
              </a:ext>
            </a:extLst>
          </p:cNvPr>
          <p:cNvSpPr>
            <a:spLocks noGrp="1" noChangeAspect="1"/>
          </p:cNvSpPr>
          <p:nvPr>
            <p:ph type="pic" sz="quarter" idx="92"/>
          </p:nvPr>
        </p:nvSpPr>
        <p:spPr>
          <a:xfrm>
            <a:off x="7275808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11" name="Text Placeholder 17">
            <a:extLst>
              <a:ext uri="{FF2B5EF4-FFF2-40B4-BE49-F238E27FC236}">
                <a16:creationId xmlns:a16="http://schemas.microsoft.com/office/drawing/2014/main" id="{E847A34A-FA18-294F-A2AA-42A8A04E3DD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280943" y="4854457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112" name="Text Placeholder 17">
            <a:extLst>
              <a:ext uri="{FF2B5EF4-FFF2-40B4-BE49-F238E27FC236}">
                <a16:creationId xmlns:a16="http://schemas.microsoft.com/office/drawing/2014/main" id="{CE506D79-0E45-8746-A092-5F2D85579EFD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359296" y="606619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13" name="Text Placeholder 17">
            <a:extLst>
              <a:ext uri="{FF2B5EF4-FFF2-40B4-BE49-F238E27FC236}">
                <a16:creationId xmlns:a16="http://schemas.microsoft.com/office/drawing/2014/main" id="{8EFBF95F-B693-464C-88B3-CEF008BD074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359296" y="632485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14" name="Picture Placeholder 5">
            <a:extLst>
              <a:ext uri="{FF2B5EF4-FFF2-40B4-BE49-F238E27FC236}">
                <a16:creationId xmlns:a16="http://schemas.microsoft.com/office/drawing/2014/main" id="{CD7F7CFB-EE6F-1243-83E8-6A781210E7B0}"/>
              </a:ext>
            </a:extLst>
          </p:cNvPr>
          <p:cNvSpPr>
            <a:spLocks noGrp="1" noChangeAspect="1"/>
          </p:cNvSpPr>
          <p:nvPr>
            <p:ph type="pic" sz="quarter" idx="96"/>
          </p:nvPr>
        </p:nvSpPr>
        <p:spPr>
          <a:xfrm>
            <a:off x="359476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15" name="Text Placeholder 17">
            <a:extLst>
              <a:ext uri="{FF2B5EF4-FFF2-40B4-BE49-F238E27FC236}">
                <a16:creationId xmlns:a16="http://schemas.microsoft.com/office/drawing/2014/main" id="{B24322DA-13F7-D940-A2CD-8E5322ECE3B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364612" y="6649336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116" name="Text Placeholder 17">
            <a:extLst>
              <a:ext uri="{FF2B5EF4-FFF2-40B4-BE49-F238E27FC236}">
                <a16:creationId xmlns:a16="http://schemas.microsoft.com/office/drawing/2014/main" id="{C4B65721-8D39-344C-9501-A958A8B17AA3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4814877" y="606619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17" name="Text Placeholder 17">
            <a:extLst>
              <a:ext uri="{FF2B5EF4-FFF2-40B4-BE49-F238E27FC236}">
                <a16:creationId xmlns:a16="http://schemas.microsoft.com/office/drawing/2014/main" id="{B0D115F9-DFCC-7C4F-BE2E-376249B73A3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814877" y="632485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18" name="Picture Placeholder 5">
            <a:extLst>
              <a:ext uri="{FF2B5EF4-FFF2-40B4-BE49-F238E27FC236}">
                <a16:creationId xmlns:a16="http://schemas.microsoft.com/office/drawing/2014/main" id="{441357CC-87B8-1148-8867-8CD67EEB5C24}"/>
              </a:ext>
            </a:extLst>
          </p:cNvPr>
          <p:cNvSpPr>
            <a:spLocks noGrp="1" noChangeAspect="1"/>
          </p:cNvSpPr>
          <p:nvPr>
            <p:ph type="pic" sz="quarter" idx="100"/>
          </p:nvPr>
        </p:nvSpPr>
        <p:spPr>
          <a:xfrm>
            <a:off x="381505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19" name="Text Placeholder 17">
            <a:extLst>
              <a:ext uri="{FF2B5EF4-FFF2-40B4-BE49-F238E27FC236}">
                <a16:creationId xmlns:a16="http://schemas.microsoft.com/office/drawing/2014/main" id="{387F1AC6-EE98-C741-AE68-F6FF5CFD51EF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4820193" y="6649186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120" name="Text Placeholder 17">
            <a:extLst>
              <a:ext uri="{FF2B5EF4-FFF2-40B4-BE49-F238E27FC236}">
                <a16:creationId xmlns:a16="http://schemas.microsoft.com/office/drawing/2014/main" id="{CF11C440-3FC8-D549-A007-AEFE848BA18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275627" y="606619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21" name="Text Placeholder 17">
            <a:extLst>
              <a:ext uri="{FF2B5EF4-FFF2-40B4-BE49-F238E27FC236}">
                <a16:creationId xmlns:a16="http://schemas.microsoft.com/office/drawing/2014/main" id="{1D7527AB-F872-5D4F-9180-6517078E2B0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8275627" y="6328126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122" name="Picture Placeholder 5">
            <a:extLst>
              <a:ext uri="{FF2B5EF4-FFF2-40B4-BE49-F238E27FC236}">
                <a16:creationId xmlns:a16="http://schemas.microsoft.com/office/drawing/2014/main" id="{CFB3C9FF-7436-9846-9211-762CC13EEE0C}"/>
              </a:ext>
            </a:extLst>
          </p:cNvPr>
          <p:cNvSpPr>
            <a:spLocks noGrp="1" noChangeAspect="1"/>
          </p:cNvSpPr>
          <p:nvPr>
            <p:ph type="pic" sz="quarter" idx="104"/>
          </p:nvPr>
        </p:nvSpPr>
        <p:spPr>
          <a:xfrm>
            <a:off x="7275808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6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23" name="Text Placeholder 17">
            <a:extLst>
              <a:ext uri="{FF2B5EF4-FFF2-40B4-BE49-F238E27FC236}">
                <a16:creationId xmlns:a16="http://schemas.microsoft.com/office/drawing/2014/main" id="{6F30B1CA-5C2F-F540-82E3-85F0D71D24C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80943" y="6642006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D9D25C10-AB3E-C74C-8A68-D3A4937DE030}"/>
              </a:ext>
            </a:extLst>
          </p:cNvPr>
          <p:cNvSpPr>
            <a:spLocks noGrp="1"/>
          </p:cNvSpPr>
          <p:nvPr>
            <p:ph type="body" sz="quarter" idx="106" hasCustomPrompt="1"/>
          </p:nvPr>
        </p:nvSpPr>
        <p:spPr>
          <a:xfrm>
            <a:off x="4814877" y="485231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(888) 123–4567</a:t>
            </a:r>
          </a:p>
          <a:p>
            <a:pPr lvl="0"/>
            <a:r>
              <a:rPr lang="en-US" err="1"/>
              <a:t>name@equitable.co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9573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09A6F1A-3C39-7343-9FBA-05C51270B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09A6F1A-3C39-7343-9FBA-05C51270B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486B662-82A9-3240-99B0-CABFBF382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017F322-6C13-F740-B332-E77A00AED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6DF122C-D96D-6F42-9C0D-614B8475D9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169069" indent="-159544">
              <a:lnSpc>
                <a:spcPts val="4126"/>
              </a:lnSpc>
              <a:buNone/>
              <a:tabLst/>
              <a:defRPr sz="2626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“We’ve been protecting financial security since 1859. Planning for your retirement, life insurance protection, saving for educations and investing for the future.”</a:t>
            </a:r>
          </a:p>
        </p:txBody>
      </p:sp>
    </p:spTree>
    <p:extLst>
      <p:ext uri="{BB962C8B-B14F-4D97-AF65-F5344CB8AC3E}">
        <p14:creationId xmlns:p14="http://schemas.microsoft.com/office/powerpoint/2010/main" val="2187504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D84C60-2466-0E4C-A7C4-96FB464FEE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D84C60-2466-0E4C-A7C4-96FB464FEE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459513B-74D7-7742-B451-0A2A074BC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67C9897-77FD-E947-892C-ED90BBBF6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BEA7F6D-1BFD-3141-8D92-1C4D5ECC9F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6"/>
              </a:lnSpc>
              <a:buNone/>
              <a:defRPr sz="2626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10841-2B4E-434A-84C9-2317904A783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9270" y="-139150"/>
            <a:ext cx="13716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77593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717832-C793-6F4C-92A8-1F5967572B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717832-C793-6F4C-92A8-1F5967572B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8F26D51-4839-0F4E-B752-B21A815B3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0CA9EEFB-C3EC-304A-843D-00359DB0B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F29C42D-3970-FF4C-BB9F-A1D9C3181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8187350-B34C-1448-A83B-3FAB83DDCC7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9872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55811FEA-2285-D345-962B-647DA797287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737151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FA163D3-BDF9-824E-8A4D-5BB4C9B224A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50994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43BBC51-E2C6-6046-8946-0951A903C8F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A851CCA-57B3-0046-9BD6-FC83A05AD7B7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734447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0A90DF1F-2517-4741-8F3A-634C7A7CE3B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7248065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004902-559C-364E-9DFA-8EE281D3EE59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286940" y="5657850"/>
            <a:ext cx="2703910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10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0D0AF08-31DC-E745-A3F5-93BCDDE1505E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3745205" y="5682162"/>
            <a:ext cx="2703910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10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471F6DA-C7A5-5249-B208-37E6FA1F81F5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7866" y="5682162"/>
            <a:ext cx="2703910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10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69E34C-E1E7-C142-AE1B-89EAD1C190B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286397" y="4824719"/>
            <a:ext cx="2703910" cy="81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7629EE9-FE64-7949-A80C-371EBF1394E3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3734447" y="4841909"/>
            <a:ext cx="2703910" cy="81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60A0761-F343-AA46-8DBA-59D5F704CE41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7248065" y="4843142"/>
            <a:ext cx="2703910" cy="81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69599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064">
          <p15:clr>
            <a:srgbClr val="FBAE40"/>
          </p15:clr>
        </p15:guide>
        <p15:guide id="6" orient="horz" pos="2664">
          <p15:clr>
            <a:srgbClr val="FBAE40"/>
          </p15:clr>
        </p15:guide>
        <p15:guide id="9" orient="horz" pos="2880">
          <p15:clr>
            <a:srgbClr val="FBAE40"/>
          </p15:clr>
        </p15:guide>
        <p15:guide id="10" orient="horz" pos="3024">
          <p15:clr>
            <a:srgbClr val="FBAE40"/>
          </p15:clr>
        </p15:guide>
        <p15:guide id="11" orient="horz" pos="1896">
          <p15:clr>
            <a:srgbClr val="FBAE40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nformation slide_WT_0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717832-C793-6F4C-92A8-1F5967572B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717832-C793-6F4C-92A8-1F5967572B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8F26D51-4839-0F4E-B752-B21A815B3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0CA9EEFB-C3EC-304A-843D-00359DB0B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F29C42D-3970-FF4C-BB9F-A1D9C3181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8187350-B34C-1448-A83B-3FAB83DDCC7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9872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55811FEA-2285-D345-962B-647DA797287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737151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FA163D3-BDF9-824E-8A4D-5BB4C9B224A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50994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43BBC51-E2C6-6046-8946-0951A903C8F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A851CCA-57B3-0046-9BD6-FC83A05AD7B7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734447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0A90DF1F-2517-4741-8F3A-634C7A7CE3B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7248065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004902-559C-364E-9DFA-8EE281D3EE59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286940" y="5657850"/>
            <a:ext cx="2703910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10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20D0AF08-31DC-E745-A3F5-93BCDDE1505E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3745205" y="5682162"/>
            <a:ext cx="2703910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10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471F6DA-C7A5-5249-B208-37E6FA1F81F5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7257866" y="5682162"/>
            <a:ext cx="2703910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10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69E34C-E1E7-C142-AE1B-89EAD1C190BC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286397" y="4824719"/>
            <a:ext cx="2703910" cy="81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rgbClr val="002577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17629EE9-FE64-7949-A80C-371EBF1394E3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3734447" y="4841909"/>
            <a:ext cx="2703910" cy="81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rgbClr val="002577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760A0761-F343-AA46-8DBA-59D5F704CE41}"/>
              </a:ext>
            </a:extLst>
          </p:cNvPr>
          <p:cNvSpPr>
            <a:spLocks noGrp="1"/>
          </p:cNvSpPr>
          <p:nvPr>
            <p:ph type="body" sz="quarter" idx="80"/>
          </p:nvPr>
        </p:nvSpPr>
        <p:spPr>
          <a:xfrm>
            <a:off x="7248065" y="4843142"/>
            <a:ext cx="2703910" cy="812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>
                <a:solidFill>
                  <a:srgbClr val="002577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0078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064">
          <p15:clr>
            <a:srgbClr val="FBAE40"/>
          </p15:clr>
        </p15:guide>
        <p15:guide id="6" orient="horz" pos="2664">
          <p15:clr>
            <a:srgbClr val="FBAE40"/>
          </p15:clr>
        </p15:guide>
        <p15:guide id="9" orient="horz" pos="2880">
          <p15:clr>
            <a:srgbClr val="FBAE40"/>
          </p15:clr>
        </p15:guide>
        <p15:guide id="10" orient="horz" pos="3024">
          <p15:clr>
            <a:srgbClr val="FBAE40"/>
          </p15:clr>
        </p15:guide>
        <p15:guide id="11" orient="horz" pos="1896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2903CC2-B49C-254B-99F5-CED8DD4961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AF085A-2367-3B4F-B2D3-735C72EA9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1DE36CFC-41B2-8C47-9108-49B293173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757EB81F-7D3E-AD48-8696-3F5B6501A9A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79873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5DE3D25B-C45A-ED4F-86DA-54B4327EFA3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67531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0A0C3EF2-8C93-1F48-9734-992BA9936C8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476399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9" name="Text Placeholder 35">
            <a:extLst>
              <a:ext uri="{FF2B5EF4-FFF2-40B4-BE49-F238E27FC236}">
                <a16:creationId xmlns:a16="http://schemas.microsoft.com/office/drawing/2014/main" id="{59105C59-2C7F-F341-992C-22751EB0BB1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78197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D87C8E-8AA0-9C48-8003-F805FFA0BD4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B0BDA74-C70F-9D48-96FA-18508C0FA641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28771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3A6F76D-EC9F-0F46-97C9-F54AF3B19B30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77522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5F68AE7-31F3-B94B-BA23-AEB709E92A50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07784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69C6EF-58E8-744A-A89F-F181C118C0B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7743" y="4820241"/>
            <a:ext cx="2064261" cy="2494963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D2A3ABF-5388-1E4C-9A74-6626C6BF886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5" y="4820242"/>
            <a:ext cx="2064261" cy="2494963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419DE374-175B-F34F-BB71-14B2689F462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479540" y="4820236"/>
            <a:ext cx="2064261" cy="2494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222328-7E5E-B046-A2EA-5651060300D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081339" y="4820236"/>
            <a:ext cx="2064261" cy="2494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19970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088" userDrawn="1">
          <p15:clr>
            <a:srgbClr val="FBAE40"/>
          </p15:clr>
        </p15:guide>
        <p15:guide id="8" orient="horz" pos="2664" userDrawn="1">
          <p15:clr>
            <a:srgbClr val="FBAE40"/>
          </p15:clr>
        </p15:guide>
        <p15:guide id="9" orient="horz" pos="2880" userDrawn="1">
          <p15:clr>
            <a:srgbClr val="FBAE40"/>
          </p15:clr>
        </p15:guide>
        <p15:guide id="10" orient="horz" pos="3024" userDrawn="1">
          <p15:clr>
            <a:srgbClr val="FBAE40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1A79E3A-69DC-F84D-9BB8-E6891B50E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1A79E3A-69DC-F84D-9BB8-E6891B50E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2903CC2-B49C-254B-99F5-CED8DD4961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AF085A-2367-3B4F-B2D3-735C72EA9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1DE36CFC-41B2-8C47-9108-49B293173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757EB81F-7D3E-AD48-8696-3F5B6501A9A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79872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5DE3D25B-C45A-ED4F-86DA-54B4327EFA3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67531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0A0C3EF2-8C93-1F48-9734-992BA9936C8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476398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49" name="Text Placeholder 35">
            <a:extLst>
              <a:ext uri="{FF2B5EF4-FFF2-40B4-BE49-F238E27FC236}">
                <a16:creationId xmlns:a16="http://schemas.microsoft.com/office/drawing/2014/main" id="{59105C59-2C7F-F341-992C-22751EB0BB1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78196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D87C8E-8AA0-9C48-8003-F805FFA0BD4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B0BDA74-C70F-9D48-96FA-18508C0FA641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28771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3A6F76D-EC9F-0F46-97C9-F54AF3B19B30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77522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5F68AE7-31F3-B94B-BA23-AEB709E92A50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07784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69C6EF-58E8-744A-A89F-F181C118C0B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7741" y="4820238"/>
            <a:ext cx="2064262" cy="837055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D2A3ABF-5388-1E4C-9A74-6626C6BF886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5" y="4820239"/>
            <a:ext cx="2064262" cy="837055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419DE374-175B-F34F-BB71-14B2689F462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479541" y="4820237"/>
            <a:ext cx="2064262" cy="837055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222328-7E5E-B046-A2EA-5651060300D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081339" y="4820237"/>
            <a:ext cx="2064262" cy="837055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39F24824-C0F5-A74C-81FF-F0411D005ADE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286940" y="5657850"/>
            <a:ext cx="2064262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CF779B-DC5E-3648-B2DD-007F0E4BBE81}"/>
              </a:ext>
            </a:extLst>
          </p:cNvPr>
          <p:cNvSpPr>
            <a:spLocks noGrp="1"/>
          </p:cNvSpPr>
          <p:nvPr>
            <p:ph type="body" sz="quarter" idx="76"/>
          </p:nvPr>
        </p:nvSpPr>
        <p:spPr>
          <a:xfrm>
            <a:off x="2867529" y="5691043"/>
            <a:ext cx="2064262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4EB0E57C-23F6-A842-8496-5D2FE96E5761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5479541" y="5691043"/>
            <a:ext cx="2064262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64ADEAAB-EB7B-BB4F-9EEB-9B8AEB4C82EF}"/>
              </a:ext>
            </a:extLst>
          </p:cNvPr>
          <p:cNvSpPr>
            <a:spLocks noGrp="1"/>
          </p:cNvSpPr>
          <p:nvPr>
            <p:ph type="body" sz="quarter" idx="78"/>
          </p:nvPr>
        </p:nvSpPr>
        <p:spPr>
          <a:xfrm>
            <a:off x="8091551" y="5691043"/>
            <a:ext cx="2064262" cy="1603375"/>
          </a:xfrm>
          <a:prstGeom prst="rect">
            <a:avLst/>
          </a:prstGeom>
        </p:spPr>
        <p:txBody>
          <a:bodyPr/>
          <a:lstStyle>
            <a:lvl1pPr marL="205726" indent="-205726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2282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088">
          <p15:clr>
            <a:srgbClr val="FBAE40"/>
          </p15:clr>
        </p15:guide>
        <p15:guide id="8" orient="horz" pos="2664">
          <p15:clr>
            <a:srgbClr val="FBAE40"/>
          </p15:clr>
        </p15:guide>
        <p15:guide id="9" orient="horz" pos="2880">
          <p15:clr>
            <a:srgbClr val="FBAE40"/>
          </p15:clr>
        </p15:guide>
        <p15:guide id="10" orient="horz" pos="3024">
          <p15:clr>
            <a:srgbClr val="FBAE40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C451CD-96A8-7E4D-B207-FB34E1FDB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8C451CD-96A8-7E4D-B207-FB34E1FDB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DB8790C-9C94-8345-B804-9E75D9B4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D5D61A-2FD6-4D4C-B1CF-F215103CD5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38C6021-8DB3-1642-94F8-111AD16A6A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68F5449-5152-904E-89DC-97CF5FEFB4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6610" y="2249489"/>
            <a:ext cx="5229791" cy="3322637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590FC15-E6EA-AB4C-A795-3ACE552635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86402" y="2266523"/>
            <a:ext cx="5229791" cy="3322637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31421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28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formation slide_WT_05_blue bg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8C451CD-96A8-7E4D-B207-FB34E1FDB2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8C451CD-96A8-7E4D-B207-FB34E1FDB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DB8790C-9C94-8345-B804-9E75D9B4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D5D61A-2FD6-4D4C-B1CF-F215103CD5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38C6021-8DB3-1642-94F8-111AD16A6A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68F5449-5152-904E-89DC-97CF5FEFB4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6610" y="2249489"/>
            <a:ext cx="5229791" cy="3322637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3590FC15-E6EA-AB4C-A795-3ACE552635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486402" y="2266523"/>
            <a:ext cx="5229791" cy="3322637"/>
          </a:xfrm>
          <a:prstGeom prst="rect">
            <a:avLst/>
          </a:prstGeom>
        </p:spPr>
        <p:txBody>
          <a:bodyPr/>
          <a:lstStyle>
            <a:lvl1pPr>
              <a:defRPr sz="13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20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05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900" b="0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>
              <a:defRPr sz="900" b="0" i="0">
                <a:latin typeface="Segoe UI" panose="020B0502040204020203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44A2B3-440F-3D4D-9607-38154774432A}"/>
              </a:ext>
            </a:extLst>
          </p:cNvPr>
          <p:cNvSpPr txBox="1">
            <a:spLocks/>
          </p:cNvSpPr>
          <p:nvPr userDrawn="1"/>
        </p:nvSpPr>
        <p:spPr>
          <a:xfrm>
            <a:off x="275755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181863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28">
          <p15:clr>
            <a:srgbClr val="FBAE40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406C1A-0F78-F147-AF9E-22768BA1B6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406C1A-0F78-F147-AF9E-22768BA1B6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0136C6-F7AB-8B49-928A-338D3A76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C2B5399-B34C-E849-947E-DA2E8E94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40F72-08C8-A04F-B3F3-EAD6099F17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895" y="3670303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8DEA317-5C53-964A-8725-0A575FF6F0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C482676B-8FFD-D249-840A-A4B768AAB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4219" y="3670303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484AE173-66FD-0C4F-9F7F-ED0CFFD441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73401" y="3670303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406438DA-82F4-2041-B4C1-FDA04BB04D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6299" y="3670303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EE9E89-CAEA-6749-A5BF-C6CDC24EB7F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1115" y="4011616"/>
            <a:ext cx="2388394" cy="3303373"/>
          </a:xfrm>
          <a:prstGeom prst="rect">
            <a:avLst/>
          </a:prstGeom>
        </p:spPr>
        <p:txBody>
          <a:bodyPr/>
          <a:lstStyle>
            <a:lvl1pPr marL="300031" indent="-300031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52CEB8D-161D-1847-B77C-09583DCD8B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876034" y="4011616"/>
            <a:ext cx="2388394" cy="3303373"/>
          </a:xfrm>
          <a:prstGeom prst="rect">
            <a:avLst/>
          </a:prstGeom>
        </p:spPr>
        <p:txBody>
          <a:bodyPr/>
          <a:lstStyle>
            <a:lvl1pPr marL="300031" indent="-300031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36C8D09-4B68-7E43-92BC-03886CC61F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70953" y="4011616"/>
            <a:ext cx="2388394" cy="3303373"/>
          </a:xfrm>
          <a:prstGeom prst="rect">
            <a:avLst/>
          </a:prstGeom>
        </p:spPr>
        <p:txBody>
          <a:bodyPr/>
          <a:lstStyle>
            <a:lvl1pPr marL="300031" indent="-300031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C5E1225-9BE0-4247-986F-F2F38964C5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090586" y="4011616"/>
            <a:ext cx="2388394" cy="3303373"/>
          </a:xfrm>
          <a:prstGeom prst="rect">
            <a:avLst/>
          </a:prstGeom>
        </p:spPr>
        <p:txBody>
          <a:bodyPr/>
          <a:lstStyle>
            <a:lvl1pPr marL="300031" indent="-300031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0025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>
          <p15:clr>
            <a:srgbClr val="FBAE40"/>
          </p15:clr>
        </p15:guide>
        <p15:guide id="2" orient="horz" pos="2712">
          <p15:clr>
            <a:srgbClr val="FBAE40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06088B2-3DCD-9F4E-B9C7-406656DA16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06088B2-3DCD-9F4E-B9C7-406656DA16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74CDF4B0-2E35-9843-BE83-6C144954D58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42900" y="3200400"/>
            <a:ext cx="2514600" cy="18288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marR="0" indent="0" algn="ctr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205726" marR="0" lvl="0" indent="-20572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183" y="5063763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940259" y="3200400"/>
            <a:ext cx="2514600" cy="18288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marR="0" indent="0" algn="ctr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205726" marR="0" lvl="0" indent="-20572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7" name="Picture Placeholder 15">
            <a:extLst>
              <a:ext uri="{FF2B5EF4-FFF2-40B4-BE49-F238E27FC236}">
                <a16:creationId xmlns:a16="http://schemas.microsoft.com/office/drawing/2014/main" id="{85178677-6C05-8641-847C-C03510C54C7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531654" y="3200400"/>
            <a:ext cx="2514600" cy="18288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marR="0" indent="0" algn="ctr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205726" marR="0" lvl="0" indent="-20572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354CDB8F-F229-6B47-90D2-BFF11BD7EE9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8119277" y="3200400"/>
            <a:ext cx="2514600" cy="18288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marR="0" indent="0" algn="ctr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205726" marR="0" lvl="0" indent="-20572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6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940259" y="5063763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516482" y="5063763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10595" y="5063763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30816B2-6BE8-ED44-B9A3-EF9BCEAFB2E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9535" y="5429491"/>
            <a:ext cx="2064262" cy="1885711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ur solute haunter sasanquas, officiate suntan </a:t>
            </a:r>
            <a:r>
              <a:rPr lang="en-US" err="1"/>
              <a:t>experian</a:t>
            </a:r>
            <a:r>
              <a:rPr lang="en-US"/>
              <a:t> que praises elm </a:t>
            </a:r>
            <a:r>
              <a:rPr lang="en-US" err="1"/>
              <a:t>fuga</a:t>
            </a:r>
            <a:r>
              <a:rPr lang="en-US"/>
              <a:t>.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BE6BC68-0A82-3E44-8B2F-E96D5B9779F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449115" y="5429491"/>
            <a:ext cx="2064262" cy="1885711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ur solute haunter sasanquas, officiate suntan </a:t>
            </a:r>
            <a:r>
              <a:rPr lang="en-US" err="1"/>
              <a:t>experian</a:t>
            </a:r>
            <a:r>
              <a:rPr lang="en-US"/>
              <a:t> que praises elm </a:t>
            </a:r>
            <a:r>
              <a:rPr lang="en-US" err="1"/>
              <a:t>fuga</a:t>
            </a:r>
            <a:r>
              <a:rPr lang="en-US"/>
              <a:t>.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EDB1CC1-73C6-5645-A7D7-7B578CB809C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044737" y="5429491"/>
            <a:ext cx="2064262" cy="1885711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ur solute haunter sasanquas, officiate suntan </a:t>
            </a:r>
            <a:r>
              <a:rPr lang="en-US" err="1"/>
              <a:t>experian</a:t>
            </a:r>
            <a:r>
              <a:rPr lang="en-US"/>
              <a:t> que praises elm </a:t>
            </a:r>
            <a:r>
              <a:rPr lang="en-US" err="1"/>
              <a:t>fuga</a:t>
            </a:r>
            <a:r>
              <a:rPr lang="en-US"/>
              <a:t>.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4F387A61-12D4-B848-ACDA-41D6C7CB76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66551" y="5429491"/>
            <a:ext cx="2064262" cy="1885711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Tur solute haunter sasanquas, officiate suntan </a:t>
            </a:r>
            <a:r>
              <a:rPr lang="en-US" err="1"/>
              <a:t>experian</a:t>
            </a:r>
            <a:r>
              <a:rPr lang="en-US"/>
              <a:t> que praises elm </a:t>
            </a:r>
            <a:r>
              <a:rPr lang="en-US" err="1"/>
              <a:t>fuga</a:t>
            </a:r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3324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16">
          <p15:clr>
            <a:srgbClr val="FBAE40"/>
          </p15:clr>
        </p15:guide>
        <p15:guide id="2" orient="horz" pos="3168">
          <p15:clr>
            <a:srgbClr val="FBAE40"/>
          </p15:clr>
        </p15:guide>
        <p15:guide id="7" orient="horz" pos="3288">
          <p15:clr>
            <a:srgbClr val="FBAE40"/>
          </p15:clr>
        </p15:guide>
        <p15:guide id="8" orient="horz" pos="3480">
          <p15:clr>
            <a:srgbClr val="FBAE40"/>
          </p15:clr>
        </p15:guide>
        <p15:guide id="10" pos="9120">
          <p15:clr>
            <a:srgbClr val="FBAE40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144B56-0862-EC46-A6EF-B1131AD5E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0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C144B56-0862-EC46-A6EF-B1131AD5E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3" y="427240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940259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09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2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5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41C27F56-6EFC-A441-9C2D-10CE4433874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5233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0AEAB501-3096-AF4F-B436-6E6240708D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75309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FD8B8259-35A0-564E-B170-F909CA04F15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51532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27C9FBE6-5465-1847-9A14-285A9B68F0A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045645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78AC1F9C-0EA2-6940-87FC-B71E90AE410D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518520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37" name="Picture Placeholder 15">
            <a:extLst>
              <a:ext uri="{FF2B5EF4-FFF2-40B4-BE49-F238E27FC236}">
                <a16:creationId xmlns:a16="http://schemas.microsoft.com/office/drawing/2014/main" id="{3D133F5B-4C0C-004F-9093-B7D3D6DED8A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122824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40" name="Picture Placeholder 15">
            <a:extLst>
              <a:ext uri="{FF2B5EF4-FFF2-40B4-BE49-F238E27FC236}">
                <a16:creationId xmlns:a16="http://schemas.microsoft.com/office/drawing/2014/main" id="{AC540D40-8013-854D-B2C3-76FDC36525D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940259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9E94E62A-05C7-E243-93CC-EDC4EAB951A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518520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42" name="Picture Placeholder 15">
            <a:extLst>
              <a:ext uri="{FF2B5EF4-FFF2-40B4-BE49-F238E27FC236}">
                <a16:creationId xmlns:a16="http://schemas.microsoft.com/office/drawing/2014/main" id="{B75EE488-C0ED-E44E-987B-7A0179559C7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122824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43" name="Picture Placeholder 15">
            <a:extLst>
              <a:ext uri="{FF2B5EF4-FFF2-40B4-BE49-F238E27FC236}">
                <a16:creationId xmlns:a16="http://schemas.microsoft.com/office/drawing/2014/main" id="{906C6984-65CE-7B45-B326-F57045AFC461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44636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B1C4EE-1A0F-9646-A3FE-5C6D576B0B32}"/>
              </a:ext>
            </a:extLst>
          </p:cNvPr>
          <p:cNvSpPr txBox="1"/>
          <p:nvPr userDrawn="1"/>
        </p:nvSpPr>
        <p:spPr>
          <a:xfrm>
            <a:off x="2948940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96F487-8696-E746-BE29-3D797D4E3500}"/>
              </a:ext>
            </a:extLst>
          </p:cNvPr>
          <p:cNvSpPr txBox="1"/>
          <p:nvPr userDrawn="1"/>
        </p:nvSpPr>
        <p:spPr>
          <a:xfrm>
            <a:off x="5509840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174078-4FA5-FC4D-9638-0EE6DD706364}"/>
              </a:ext>
            </a:extLst>
          </p:cNvPr>
          <p:cNvSpPr txBox="1"/>
          <p:nvPr userDrawn="1"/>
        </p:nvSpPr>
        <p:spPr>
          <a:xfrm>
            <a:off x="8114143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804565-7374-C745-9825-D7F3EDD5EBE2}"/>
              </a:ext>
            </a:extLst>
          </p:cNvPr>
          <p:cNvSpPr txBox="1"/>
          <p:nvPr userDrawn="1"/>
        </p:nvSpPr>
        <p:spPr>
          <a:xfrm>
            <a:off x="2948940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DE661D-D0B2-B64F-82BD-3D94F6023BB5}"/>
              </a:ext>
            </a:extLst>
          </p:cNvPr>
          <p:cNvSpPr txBox="1"/>
          <p:nvPr userDrawn="1"/>
        </p:nvSpPr>
        <p:spPr>
          <a:xfrm>
            <a:off x="327275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56A44A-5B27-6549-BCCB-9CA0EB7CB051}"/>
              </a:ext>
            </a:extLst>
          </p:cNvPr>
          <p:cNvSpPr txBox="1"/>
          <p:nvPr userDrawn="1"/>
        </p:nvSpPr>
        <p:spPr>
          <a:xfrm>
            <a:off x="5509840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2810E12-5685-324C-9255-BB0A7DCEB618}"/>
              </a:ext>
            </a:extLst>
          </p:cNvPr>
          <p:cNvSpPr txBox="1"/>
          <p:nvPr userDrawn="1"/>
        </p:nvSpPr>
        <p:spPr>
          <a:xfrm>
            <a:off x="8114143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  <p:sp>
        <p:nvSpPr>
          <p:cNvPr id="46" name="Picture Placeholder 15">
            <a:extLst>
              <a:ext uri="{FF2B5EF4-FFF2-40B4-BE49-F238E27FC236}">
                <a16:creationId xmlns:a16="http://schemas.microsoft.com/office/drawing/2014/main" id="{E391C987-2B98-F34D-A049-FF694B6832C1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51518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sz="1200"/>
              <a:t>Image placeholder</a:t>
            </a:r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80CDE7-24B8-6748-8062-FD1716CE6A43}"/>
              </a:ext>
            </a:extLst>
          </p:cNvPr>
          <p:cNvSpPr txBox="1"/>
          <p:nvPr userDrawn="1"/>
        </p:nvSpPr>
        <p:spPr>
          <a:xfrm>
            <a:off x="341665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>
                <a:solidFill>
                  <a:srgbClr val="75787B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rPr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721908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orient="horz" pos="3168">
          <p15:clr>
            <a:srgbClr val="FBAE40"/>
          </p15:clr>
        </p15:guide>
        <p15:guide id="7" orient="horz" pos="4368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pos="9168">
          <p15:clr>
            <a:srgbClr val="FBAE40"/>
          </p15:clr>
        </p15:guide>
        <p15:guide id="12" orient="horz" pos="2592">
          <p15:clr>
            <a:srgbClr val="FBAE40"/>
          </p15:clr>
        </p15:guide>
        <p15:guide id="13" orient="horz" pos="2664">
          <p15:clr>
            <a:srgbClr val="FBAE40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7DBC29-3938-AC49-9AB7-A21548CFE5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7DBC29-3938-AC49-9AB7-A21548CFE5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665664E-29A2-7D47-94A1-F271640173FB}"/>
              </a:ext>
            </a:extLst>
          </p:cNvPr>
          <p:cNvSpPr/>
          <p:nvPr userDrawn="1"/>
        </p:nvSpPr>
        <p:spPr>
          <a:xfrm>
            <a:off x="5486400" y="4114800"/>
            <a:ext cx="5486400" cy="41148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FFAF22CE-B3C3-1A44-BACC-978F7568C3F2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86400" y="5"/>
            <a:ext cx="5486400" cy="413813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>
              <a:defRPr lang="en-US" sz="826" dirty="0">
                <a:effectLst/>
                <a:latin typeface="Calibri" panose="020F0502020204030204" pitchFamily="34" charset="0"/>
                <a:ea typeface="Times New Roman" panose="02020603050405020304" pitchFamily="18" charset="0"/>
              </a:defRPr>
            </a:lvl1pPr>
          </a:lstStyle>
          <a:p>
            <a:pPr marL="0" lvl="0" indent="0" algn="ctr">
              <a:buNone/>
            </a:pPr>
            <a:r>
              <a:rPr lang="en-US" sz="826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97673B-4571-B649-85C4-8A05A650B0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7" y="4739967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99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6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3C757C-0FF0-224D-AE08-0CD532ED3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78" y="2570453"/>
            <a:ext cx="5017804" cy="3657600"/>
          </a:xfrm>
          <a:prstGeom prst="rect">
            <a:avLst/>
          </a:prstGeom>
        </p:spPr>
        <p:txBody>
          <a:bodyPr/>
          <a:lstStyle>
            <a:lvl1pPr marL="214308" marR="0" indent="-214308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350" b="0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311446" marR="0" indent="-15143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2pPr>
            <a:lvl3pPr marL="822722" indent="-429816">
              <a:buNone/>
              <a:tabLst/>
              <a:defRPr sz="1050">
                <a:solidFill>
                  <a:srgbClr val="002577"/>
                </a:solidFill>
                <a:latin typeface="GT America" pitchFamily="2" charset="77"/>
              </a:defRPr>
            </a:lvl3pPr>
            <a:lvl4pPr marL="1234349" indent="0">
              <a:buNone/>
              <a:defRPr sz="900">
                <a:solidFill>
                  <a:srgbClr val="002577"/>
                </a:solidFill>
                <a:latin typeface="GT America" pitchFamily="2" charset="77"/>
              </a:defRPr>
            </a:lvl4pPr>
            <a:lvl5pPr marL="1645798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/>
              <a:t>Type style 1: </a:t>
            </a:r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 arm que.</a:t>
            </a:r>
          </a:p>
          <a:p>
            <a:pPr lvl="1"/>
            <a:r>
              <a:rPr lang="en-US"/>
              <a:t>Type style 2: </a:t>
            </a:r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.</a:t>
            </a:r>
          </a:p>
          <a:p>
            <a:pPr marL="822722" marR="0" lvl="2" indent="-15143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Type style 2: </a:t>
            </a:r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.</a:t>
            </a:r>
          </a:p>
          <a:p>
            <a:pPr marL="1234349" marR="0" lvl="3" indent="-151436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/>
              <a:t>Type style 2: </a:t>
            </a:r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.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2"/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A27059-1E34-1346-B6C7-8FD979A24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8BED4A0-5B15-EB47-A9FC-C5394EAB0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A0B9D8D-C7A3-8D49-B71E-6BEDF4B7D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7F4307F-1CAD-C34F-8498-A81C733DA8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1" y="6659303"/>
            <a:ext cx="2837260" cy="2189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349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>
          <p15:clr>
            <a:srgbClr val="FBAE40"/>
          </p15:clr>
        </p15:guide>
        <p15:guide id="2" orient="horz" pos="3168">
          <p15:clr>
            <a:srgbClr val="FBAE40"/>
          </p15:clr>
        </p15:guide>
        <p15:guide id="4" orient="horz" pos="4224">
          <p15:clr>
            <a:srgbClr val="FBAE40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417E29B-4F1C-734F-ACB8-6270D1DD7B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417E29B-4F1C-734F-ACB8-6270D1DD7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7DAD5AB0-3A28-2C40-94A3-9BE6620875FD}"/>
              </a:ext>
            </a:extLst>
          </p:cNvPr>
          <p:cNvSpPr/>
          <p:nvPr userDrawn="1"/>
        </p:nvSpPr>
        <p:spPr>
          <a:xfrm>
            <a:off x="5486400" y="4114799"/>
            <a:ext cx="5486400" cy="41148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A1BA74-FBAF-474A-B0D1-30863F688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E0FEB22-339C-7843-9A59-9B2765D2A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312AB3-07CD-4F46-87E9-F6D4BA7AA7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854D194-EFC1-E64E-B414-EFED2D365B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7" y="4739967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99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6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432B7BB-EDE4-3649-8508-9CF17E729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79" y="2570454"/>
            <a:ext cx="4162723" cy="4744747"/>
          </a:xfrm>
          <a:prstGeom prst="rect">
            <a:avLst/>
          </a:prstGeom>
        </p:spPr>
        <p:txBody>
          <a:bodyPr/>
          <a:lstStyle>
            <a:lvl1pPr marL="214308" marR="0" indent="-214308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311446" indent="-151436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2pPr>
            <a:lvl3pPr marL="822899" indent="0">
              <a:buNone/>
              <a:defRPr sz="1260">
                <a:latin typeface="GT America" pitchFamily="2" charset="77"/>
              </a:defRPr>
            </a:lvl3pPr>
            <a:lvl4pPr marL="1234349" indent="0">
              <a:buNone/>
              <a:defRPr sz="1260">
                <a:latin typeface="GT America" pitchFamily="2" charset="77"/>
              </a:defRPr>
            </a:lvl4pPr>
            <a:lvl5pPr marL="1645798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/>
              <a:t>Type style 1: </a:t>
            </a:r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 arm que.</a:t>
            </a:r>
          </a:p>
          <a:p>
            <a:pPr lvl="1"/>
            <a:r>
              <a:rPr lang="en-US"/>
              <a:t>Type style 2: </a:t>
            </a:r>
            <a:r>
              <a:rPr lang="en-US" err="1"/>
              <a:t>occatur</a:t>
            </a:r>
            <a:r>
              <a:rPr lang="en-US"/>
              <a:t>, </a:t>
            </a:r>
            <a:r>
              <a:rPr lang="en-US" err="1"/>
              <a:t>odi</a:t>
            </a:r>
            <a:r>
              <a:rPr lang="en-US"/>
              <a:t> </a:t>
            </a:r>
            <a:r>
              <a:rPr lang="en-US" err="1"/>
              <a:t>optio</a:t>
            </a:r>
            <a:r>
              <a:rPr lang="en-US"/>
              <a:t> </a:t>
            </a:r>
            <a:r>
              <a:rPr lang="en-US" err="1"/>
              <a:t>consequi</a:t>
            </a:r>
            <a:r>
              <a:rPr lang="en-US"/>
              <a:t>.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CC00F7A1-A9C5-E441-82AF-C1C8F645D7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1" y="6659303"/>
            <a:ext cx="2837260" cy="21892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1" name="Picture Placeholder 71">
            <a:extLst>
              <a:ext uri="{FF2B5EF4-FFF2-40B4-BE49-F238E27FC236}">
                <a16:creationId xmlns:a16="http://schemas.microsoft.com/office/drawing/2014/main" id="{4A6C26DA-4781-4B8E-98C5-FEC7ADB3C2B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486400" y="5"/>
            <a:ext cx="5486400" cy="413813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>
              <a:defRPr lang="en-US" sz="826" dirty="0">
                <a:effectLst/>
                <a:latin typeface="Calibri" panose="020F0502020204030204" pitchFamily="34" charset="0"/>
                <a:ea typeface="Times New Roman" panose="02020603050405020304" pitchFamily="18" charset="0"/>
              </a:defRPr>
            </a:lvl1pPr>
          </a:lstStyle>
          <a:p>
            <a:pPr marL="0" lvl="0" indent="0" algn="ctr">
              <a:buNone/>
            </a:pPr>
            <a:r>
              <a:rPr lang="en-US" sz="826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35621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CF93553-CA83-D64F-93AC-7C6E047B4D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CF93553-CA83-D64F-93AC-7C6E047B4D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F1B7ED3-6B19-954B-A4E1-DE64D8A79994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44284" y="3070125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98.5bn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9BDDCDB-D517-FD4B-8E5B-E4A3107F7729}"/>
              </a:ext>
            </a:extLst>
          </p:cNvPr>
          <p:cNvCxnSpPr>
            <a:cxnSpLocks/>
          </p:cNvCxnSpPr>
          <p:nvPr userDrawn="1"/>
        </p:nvCxnSpPr>
        <p:spPr>
          <a:xfrm>
            <a:off x="5544286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4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7.8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6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0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6.67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92002B-F90E-E84E-BDA2-66BF0D5E01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4470"/>
            <a:ext cx="2634680" cy="3750732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BA04D17C-79A8-774F-ADAE-EE76B5F3424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451821" y="2785584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276A7C6-D8B3-CA45-BBF5-11D6B27E1B6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5451821" y="5067784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A0BD394E-EA08-4D46-8045-43E99DD41FA9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8098586" y="5067784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06B7C64A-8B44-5C48-BA49-0267F660759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90327" y="2777230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017272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04">
          <p15:clr>
            <a:srgbClr val="FBAE40"/>
          </p15:clr>
        </p15:guide>
        <p15:guide id="4" orient="horz" pos="3264">
          <p15:clr>
            <a:srgbClr val="FBAE40"/>
          </p15:clr>
        </p15:guide>
        <p15:guide id="5" orient="horz" pos="4536">
          <p15:clr>
            <a:srgbClr val="FBAE40"/>
          </p15:clr>
        </p15:guide>
        <p15:guide id="8" orient="horz" pos="2592">
          <p15:clr>
            <a:srgbClr val="FBAE40"/>
          </p15:clr>
        </p15:guide>
        <p15:guide id="9" orient="horz" pos="1896">
          <p15:clr>
            <a:srgbClr val="FBAE40"/>
          </p15:clr>
        </p15:guide>
        <p15:guide id="10" orient="horz" pos="1728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EC51BDC-3A3D-4043-BD7C-8B0C2DDE28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EC51BDC-3A3D-4043-BD7C-8B0C2DDE28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D38AB2D-B406-FF4B-BF0F-083823599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F8B370F0-3B52-6149-82EB-A212DA08E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81B99F6-04F9-D143-91F5-58FFD93642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E75B37E-2995-DA45-96DB-2E749ECFB873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0C58EB2-5C0C-EF4F-9EDE-FE88CABE6E27}"/>
              </a:ext>
            </a:extLst>
          </p:cNvPr>
          <p:cNvCxnSpPr>
            <a:cxnSpLocks/>
          </p:cNvCxnSpPr>
          <p:nvPr userDrawn="1"/>
        </p:nvCxnSpPr>
        <p:spPr>
          <a:xfrm>
            <a:off x="5544286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057F9DC6-0F74-B443-9FA8-54EDD4D9A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5541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7.8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4ACFCC-1045-4949-BEE9-4720F6600E5D}"/>
              </a:ext>
            </a:extLst>
          </p:cNvPr>
          <p:cNvCxnSpPr>
            <a:cxnSpLocks/>
          </p:cNvCxnSpPr>
          <p:nvPr userDrawn="1"/>
        </p:nvCxnSpPr>
        <p:spPr>
          <a:xfrm>
            <a:off x="5544286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0EDEEFC5-5AEC-D343-BC64-A20DF26168F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0" y="57484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6.67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15444EA-5BE2-3A43-8A37-8ECD679B669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549645D7-2239-E34E-977B-8B0EB55B7D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4" y="34751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7.8</a:t>
            </a:r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303D567E-6E90-744C-B2A0-D643E0F637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452110" y="34751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6.67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A9F7746-7522-DD44-83E8-BE7A0F4CFA3B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EE26970-DA91-D24A-B24E-9DADEFA332A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2"/>
            <a:ext cx="2634680" cy="3730752"/>
          </a:xfrm>
          <a:prstGeom prst="rect">
            <a:avLst/>
          </a:prstGeom>
        </p:spPr>
        <p:txBody>
          <a:bodyPr/>
          <a:lstStyle>
            <a:lvl1pPr marL="128585" marR="0" indent="-128585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135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6BE3F15-E7DC-3542-85F8-294DC3F00CA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90327" y="2777230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82E99E6E-756A-1D42-9933-CEE2977EBB83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452111" y="278912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445830A-B9A0-B545-BD1B-B6E110B2349E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8138972" y="278912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47185948-694B-844C-880D-BECFDECE1043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465764" y="507512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574A30AA-AD1A-8347-82A0-E8C39209507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150011" y="507512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072156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  <p15:guide id="2" orient="horz" pos="3264">
          <p15:clr>
            <a:srgbClr val="FBAE40"/>
          </p15:clr>
        </p15:guide>
        <p15:guide id="3" orient="horz" pos="453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4682A8E-0AB0-A24F-A5C7-CFEC79E53445}"/>
              </a:ext>
            </a:extLst>
          </p:cNvPr>
          <p:cNvSpPr/>
          <p:nvPr userDrawn="1"/>
        </p:nvSpPr>
        <p:spPr>
          <a:xfrm>
            <a:off x="342899" y="3009900"/>
            <a:ext cx="3422142" cy="43053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n>
                <a:noFill/>
              </a:ln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86B1C2-4F27-5345-8739-AAB8E4A18D6C}"/>
              </a:ext>
            </a:extLst>
          </p:cNvPr>
          <p:cNvSpPr/>
          <p:nvPr userDrawn="1"/>
        </p:nvSpPr>
        <p:spPr>
          <a:xfrm>
            <a:off x="7204897" y="3009904"/>
            <a:ext cx="3422142" cy="4305299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67A002-FD12-AD40-8FC6-33ADE9F19081}"/>
              </a:ext>
            </a:extLst>
          </p:cNvPr>
          <p:cNvSpPr/>
          <p:nvPr userDrawn="1"/>
        </p:nvSpPr>
        <p:spPr>
          <a:xfrm>
            <a:off x="3781688" y="3009900"/>
            <a:ext cx="3422142" cy="43053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759F02F-F474-474F-B0E6-0D758B042F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FBF3BBDA-0DB4-6D49-8F11-6FA88CE9D7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B48635D-BFE8-4C4E-85B1-F4D715E598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9F61871-D212-FB46-A1E0-5330B1E24FE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73974" y="1443310"/>
            <a:ext cx="4201091" cy="4769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Subtitle Here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82D614ED-C6D3-264A-ACB4-18E083D515A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31216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5" name="Text Placeholder 35">
            <a:extLst>
              <a:ext uri="{FF2B5EF4-FFF2-40B4-BE49-F238E27FC236}">
                <a16:creationId xmlns:a16="http://schemas.microsoft.com/office/drawing/2014/main" id="{064BFA76-4218-9749-BFDB-0BFA32812CF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988494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6" name="Text Placeholder 35">
            <a:extLst>
              <a:ext uri="{FF2B5EF4-FFF2-40B4-BE49-F238E27FC236}">
                <a16:creationId xmlns:a16="http://schemas.microsoft.com/office/drawing/2014/main" id="{AC4B0846-8D4C-5A44-AB59-730B0D8BAE0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7494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6FF3F498-C214-D344-94C1-AE54D68085A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52450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0DA53D-30DC-CD40-BDF2-CBF6A74AF732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971925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A1055217-ADD6-0544-A10B-C3E480F436F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7400925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D3DD26B-BA00-5B44-A8FE-62F25E12967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52450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E0A17F4-35C3-3042-96BA-17C275EC283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981450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428D181-0ACB-754A-9EBE-3E2B9F49CCA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403592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816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8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9" pos="378" userDrawn="1">
          <p15:clr>
            <a:srgbClr val="FBAE40"/>
          </p15:clr>
        </p15:guide>
        <p15:guide id="11" orient="horz" pos="4368" userDrawn="1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C2C4DE4-A352-C649-9975-54F90C6F5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C2C4DE4-A352-C649-9975-54F90C6F5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665877-4334-864C-9D33-4C963E2EB9A6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FD0ECCA-7FBF-EC45-80FA-79AEE8526D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98009" y="3312518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6.67 bn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ACC7B9EA-F978-A348-9397-F545378C0F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2" y="33112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7.8 bn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792D6B90-E22B-B54F-AB02-2FE60B59EE9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2504" y="33112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9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7.8 bn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242A32C-70DA-3541-86E4-DEB88241A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7A176CA7-E579-424E-9650-7B467D40A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BA2D8BF-E617-1240-ADA0-BE5CB0E8E3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400" b="1" i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ECE185B-F547-894B-BA13-E24374A0F87B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DC8F02FE-06F8-1049-A01C-F444135B2E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8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5" marR="0" indent="-128585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/>
              <a:t>  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A9ABE5EE-89CE-0346-868E-F3A335C3F3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5" marR="0" indent="-128585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/>
              <a:t>  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A4278D69-396D-6445-A156-2E8A2EC75A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5" marR="0" indent="-128585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/>
              <a:t> 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730EFD7-C2C5-1748-B34C-EFA109D4819B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047A371C-3782-DD44-A1D1-C6A7FC8E3D9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90327" y="2794415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BEA633EC-8633-6541-A1D9-87E0B9932FA8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3815908" y="2794415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6956EF53-3F99-334C-94D2-F0F0DD4AF7A5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283008" y="2794415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402411E-27A1-8A41-BAB2-474504F734B6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281173" y="506123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115335F-473B-354D-8B02-B085C0F87BCA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814175" y="506123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1710B8A-F6F6-6946-AD23-7B5B0CB02116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291684" y="5061239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75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304">
          <p15:clr>
            <a:srgbClr val="FBAE40"/>
          </p15:clr>
        </p15:guide>
        <p15:guide id="6" orient="horz" pos="2208">
          <p15:clr>
            <a:srgbClr val="FBAE40"/>
          </p15:clr>
        </p15:guide>
        <p15:guide id="7" orient="horz" pos="3264">
          <p15:clr>
            <a:srgbClr val="FBAE40"/>
          </p15:clr>
        </p15:guide>
        <p15:guide id="8" orient="horz" pos="3456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F0F80E67-3F4B-42BB-980F-6BA31C466CB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82" y="2"/>
            <a:ext cx="10970419" cy="82295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 anchorCtr="1"/>
          <a:lstStyle>
            <a:lvl1pPr marL="0" indent="0" algn="ctr">
              <a:buNone/>
              <a:defRPr lang="en-US" dirty="0"/>
            </a:lvl1pPr>
          </a:lstStyle>
          <a:p>
            <a:r>
              <a:rPr lang="en-US" sz="826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/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03F319F-84E1-1746-AD2B-3D8B9984B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03F319F-84E1-1746-AD2B-3D8B9984B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8504AF-9EF1-5449-88C1-29BE7D24B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4783DF6-41E2-4D4B-BAFD-D284B0B5C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90970C6-B662-AE44-B459-54AABA9B3C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770E5FF6-7D6B-7947-886D-08B5315828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4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Body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16B6CA-AD7F-CD4D-A695-CC8B343A3E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3" y="3397651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99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u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lp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2961985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>
          <p15:clr>
            <a:srgbClr val="FBAE40"/>
          </p15:clr>
        </p15:guide>
        <p15:guide id="2" orient="horz" pos="2184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91EBD2-CA2B-524E-ADBC-844A82584F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91EBD2-CA2B-524E-ADBC-844A82584F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403E054-70E9-7E45-B65A-CB417AF6B088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5486401" y="1817371"/>
            <a:ext cx="5246484" cy="549783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96A91FC-055C-7A44-8AD4-5530B82A27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2E14EE6-88ED-824E-926A-F12F0DF35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B36D71-9C76-8443-926C-09D9F3B83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EF3EAB3-F5C8-2B46-A853-E9AE626EDC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3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42E972-57AB-2143-AB8E-FBDCCF5852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82179" y="4257551"/>
            <a:ext cx="2486902" cy="30576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39E6D7-7242-774B-B1AC-9AB4CB9957A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7755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589E4F8-A981-E747-A67E-C2EEC2271DD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877801" y="4257551"/>
            <a:ext cx="2486902" cy="305765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189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84">
          <p15:clr>
            <a:srgbClr val="FBAE40"/>
          </p15:clr>
        </p15:guide>
        <p15:guide id="2" pos="8088">
          <p15:clr>
            <a:srgbClr val="FBAE40"/>
          </p15:clr>
        </p15:guide>
        <p15:guide id="3" orient="horz" pos="1152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E98DDA1-94E2-CB43-99E5-348A90120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E98DDA1-94E2-CB43-99E5-348A90120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898" y="2744428"/>
            <a:ext cx="6129328" cy="4419592"/>
          </a:xfrm>
          <a:prstGeom prst="rect">
            <a:avLst/>
          </a:prstGeom>
        </p:spPr>
        <p:txBody>
          <a:bodyPr/>
          <a:lstStyle>
            <a:lvl1pPr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1B22384-DF50-5345-8A18-D597B10BBA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20683" y="5952698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14,890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075D076-EDAE-D842-A7DA-A38169906A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5588" y="5205420"/>
            <a:ext cx="1408339" cy="3000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OT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F0016F-BC3A-9F45-9A7C-DAD9D6B7CE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35588" y="6524754"/>
            <a:ext cx="1408339" cy="3000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OT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86303E-980F-0D4F-8909-084E1AD5AE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35588" y="3668909"/>
            <a:ext cx="1408339" cy="278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OT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B813071-AF69-734D-AC8C-78856B98881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20683" y="4636802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11,377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05768" y="2745301"/>
            <a:ext cx="3374464" cy="847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86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37,540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0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0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5" name="Chart Placeholder 23">
            <a:extLst>
              <a:ext uri="{FF2B5EF4-FFF2-40B4-BE49-F238E27FC236}">
                <a16:creationId xmlns:a16="http://schemas.microsoft.com/office/drawing/2014/main" id="{D257CB94-FEC5-014F-8EFE-1ECC6EBF358A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8858251" y="5791201"/>
            <a:ext cx="885826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38" name="Chart Placeholder 23">
            <a:extLst>
              <a:ext uri="{FF2B5EF4-FFF2-40B4-BE49-F238E27FC236}">
                <a16:creationId xmlns:a16="http://schemas.microsoft.com/office/drawing/2014/main" id="{EFB9E721-3106-5B44-9C3D-2A07F980F882}"/>
              </a:ext>
            </a:extLst>
          </p:cNvPr>
          <p:cNvSpPr>
            <a:spLocks noGrp="1"/>
          </p:cNvSpPr>
          <p:nvPr>
            <p:ph type="chart" sz="quarter" idx="35"/>
          </p:nvPr>
        </p:nvSpPr>
        <p:spPr>
          <a:xfrm>
            <a:off x="8858251" y="4470401"/>
            <a:ext cx="885826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405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orient="horz" pos="1440">
          <p15:clr>
            <a:srgbClr val="FBAE40"/>
          </p15:clr>
        </p15:guide>
        <p15:guide id="6" orient="horz" pos="2256">
          <p15:clr>
            <a:srgbClr val="FBAE40"/>
          </p15:clr>
        </p15:guide>
        <p15:guide id="7" orient="horz" pos="2832">
          <p15:clr>
            <a:srgbClr val="FBAE40"/>
          </p15:clr>
        </p15:guide>
        <p15:guide id="8" orient="horz" pos="3216">
          <p15:clr>
            <a:srgbClr val="FBAE40"/>
          </p15:clr>
        </p15:guide>
        <p15:guide id="9" orient="horz" pos="3648">
          <p15:clr>
            <a:srgbClr val="FBAE40"/>
          </p15:clr>
        </p15:guide>
        <p15:guide id="10" orient="horz" pos="4632">
          <p15:clr>
            <a:srgbClr val="FBAE40"/>
          </p15:clr>
        </p15:guide>
        <p15:guide id="11" pos="5352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055AFC-36C0-1742-990E-15D510A977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055AFC-36C0-1742-990E-15D510A977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898" y="2697173"/>
            <a:ext cx="6129328" cy="441959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35586" y="2745301"/>
            <a:ext cx="2608492" cy="4569893"/>
          </a:xfrm>
          <a:prstGeom prst="rect">
            <a:avLst/>
          </a:prstGeom>
        </p:spPr>
        <p:txBody>
          <a:bodyPr>
            <a:noAutofit/>
          </a:bodyPr>
          <a:lstStyle>
            <a:lvl1pPr marL="128585" indent="-128585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Maecenas </a:t>
            </a:r>
            <a:r>
              <a:rPr lang="en-US" err="1"/>
              <a:t>porttitor</a:t>
            </a:r>
            <a:r>
              <a:rPr lang="en-US"/>
              <a:t> </a:t>
            </a:r>
            <a:r>
              <a:rPr lang="en-US" err="1"/>
              <a:t>congue</a:t>
            </a:r>
            <a:r>
              <a:rPr lang="en-US"/>
              <a:t> </a:t>
            </a:r>
            <a:r>
              <a:rPr lang="en-US" err="1"/>
              <a:t>massa</a:t>
            </a:r>
            <a:r>
              <a:rPr lang="en-US"/>
              <a:t>. </a:t>
            </a:r>
            <a:r>
              <a:rPr lang="en-US" err="1"/>
              <a:t>Fusce</a:t>
            </a:r>
            <a:r>
              <a:rPr lang="en-US"/>
              <a:t> </a:t>
            </a:r>
            <a:r>
              <a:rPr lang="en-US" err="1"/>
              <a:t>posuere</a:t>
            </a:r>
            <a:r>
              <a:rPr lang="en-US"/>
              <a:t>, magna sed pulvinar </a:t>
            </a:r>
            <a:r>
              <a:rPr lang="en-US" err="1"/>
              <a:t>ultricies</a:t>
            </a:r>
            <a:r>
              <a:rPr lang="en-US"/>
              <a:t>, </a:t>
            </a:r>
            <a:r>
              <a:rPr lang="en-US" err="1"/>
              <a:t>purus</a:t>
            </a:r>
            <a:r>
              <a:rPr lang="en-US"/>
              <a:t> </a:t>
            </a:r>
            <a:r>
              <a:rPr lang="en-US" err="1"/>
              <a:t>lectus</a:t>
            </a:r>
            <a:r>
              <a:rPr lang="en-US"/>
              <a:t> </a:t>
            </a:r>
            <a:r>
              <a:rPr lang="en-US" err="1"/>
              <a:t>malesuada</a:t>
            </a:r>
            <a:r>
              <a:rPr lang="en-US"/>
              <a:t> libero,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magna </a:t>
            </a:r>
            <a:r>
              <a:rPr lang="en-US" err="1"/>
              <a:t>eros</a:t>
            </a:r>
            <a:r>
              <a:rPr lang="en-US"/>
              <a:t>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urna</a:t>
            </a:r>
            <a:r>
              <a:rPr lang="en-US"/>
              <a:t>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0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0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050529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>
          <p15:clr>
            <a:srgbClr val="FBAE40"/>
          </p15:clr>
        </p15:guide>
        <p15:guide id="2" orient="horz" pos="1440">
          <p15:clr>
            <a:srgbClr val="FBAE40"/>
          </p15:clr>
        </p15:guide>
        <p15:guide id="6" orient="horz" pos="2256">
          <p15:clr>
            <a:srgbClr val="FBAE40"/>
          </p15:clr>
        </p15:guide>
        <p15:guide id="7" orient="horz" pos="2832">
          <p15:clr>
            <a:srgbClr val="FBAE40"/>
          </p15:clr>
        </p15:guide>
        <p15:guide id="8" orient="horz" pos="3216">
          <p15:clr>
            <a:srgbClr val="FBAE40"/>
          </p15:clr>
        </p15:guide>
        <p15:guide id="9" orient="horz" pos="3648">
          <p15:clr>
            <a:srgbClr val="FBAE40"/>
          </p15:clr>
        </p15:guide>
        <p15:guide id="11" pos="5352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B8B3431-FDD8-4946-BA15-EB4327BB9A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B8B3431-FDD8-4946-BA15-EB4327BB9A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7858126" y="4800600"/>
            <a:ext cx="0" cy="2400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7562" y="2739925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51.7 bn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00633" y="55579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9.5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6" y="45720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1" y="4743849"/>
            <a:ext cx="1793081" cy="2958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0" y="5557933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$2.6</a:t>
            </a:r>
          </a:p>
        </p:txBody>
      </p:sp>
      <p:sp>
        <p:nvSpPr>
          <p:cNvPr id="18" name="Chart Placeholder 10">
            <a:extLst>
              <a:ext uri="{FF2B5EF4-FFF2-40B4-BE49-F238E27FC236}">
                <a16:creationId xmlns:a16="http://schemas.microsoft.com/office/drawing/2014/main" id="{B0131088-638E-2A44-A74D-2900B64C7C2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899" y="2742177"/>
            <a:ext cx="5173327" cy="441959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F9FCC29-F0D0-304E-995F-33163D18DA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6875" y="2229450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824548-903C-7046-A2B1-1A4A470F218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0C05ED0-6CED-5A4C-9B70-32FAD61E63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0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722D13D-811D-A945-892A-F29F13F5710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1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089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880">
          <p15:clr>
            <a:srgbClr val="FBAE40"/>
          </p15:clr>
        </p15:guide>
        <p15:guide id="4" orient="horz" pos="3024">
          <p15:clr>
            <a:srgbClr val="FBAE40"/>
          </p15:clr>
        </p15:guide>
        <p15:guide id="5" orient="horz" pos="4536">
          <p15:clr>
            <a:srgbClr val="FBAE40"/>
          </p15:clr>
        </p15:guide>
        <p15:guide id="8" orient="horz" pos="1440">
          <p15:clr>
            <a:srgbClr val="FBAE40"/>
          </p15:clr>
        </p15:guide>
        <p15:guide id="9" orient="horz" pos="1872">
          <p15:clr>
            <a:srgbClr val="FBAE40"/>
          </p15:clr>
        </p15:guide>
        <p15:guide id="11" orient="horz" pos="3600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B069255-56ED-9A49-9E2E-647272A87D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B069255-56ED-9A49-9E2E-647272A87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810AD1-3CD3-3248-98AD-7E0A36814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14E05EF-B2AD-7249-B549-5A1DF77EC3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AE03481-D227-7A4C-9313-AFFC89DFC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BB0F561-93A6-E74A-AF14-BA82FA3B712A}"/>
              </a:ext>
            </a:extLst>
          </p:cNvPr>
          <p:cNvCxnSpPr>
            <a:cxnSpLocks/>
          </p:cNvCxnSpPr>
          <p:nvPr userDrawn="1"/>
        </p:nvCxnSpPr>
        <p:spPr>
          <a:xfrm>
            <a:off x="342900" y="2133600"/>
            <a:ext cx="471487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A5AEB9-0B74-4046-A12A-98536C351C5E}"/>
              </a:ext>
            </a:extLst>
          </p:cNvPr>
          <p:cNvCxnSpPr>
            <a:cxnSpLocks/>
          </p:cNvCxnSpPr>
          <p:nvPr userDrawn="1"/>
        </p:nvCxnSpPr>
        <p:spPr>
          <a:xfrm>
            <a:off x="5886451" y="2133600"/>
            <a:ext cx="474345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B9E514-F681-3B43-AAF7-A03BC614DCD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3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3101E2A-2185-A945-BAC8-2CC31125EEA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18400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/>
          </a:p>
        </p:txBody>
      </p:sp>
      <p:sp>
        <p:nvSpPr>
          <p:cNvPr id="28" name="Chart Placeholder 10">
            <a:extLst>
              <a:ext uri="{FF2B5EF4-FFF2-40B4-BE49-F238E27FC236}">
                <a16:creationId xmlns:a16="http://schemas.microsoft.com/office/drawing/2014/main" id="{991788D2-6434-124D-B338-6C9E13395A8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0" y="2661884"/>
            <a:ext cx="4714876" cy="441959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31" name="Chart Placeholder 10">
            <a:extLst>
              <a:ext uri="{FF2B5EF4-FFF2-40B4-BE49-F238E27FC236}">
                <a16:creationId xmlns:a16="http://schemas.microsoft.com/office/drawing/2014/main" id="{D0FFE140-821E-364E-B597-19750F5E80F6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5905500" y="2661884"/>
            <a:ext cx="4714876" cy="4419592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59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248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440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E6567BD-908A-034D-B7BD-C06D8279AE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E6567BD-908A-034D-B7BD-C06D8279A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hart Placeholder 10">
            <a:extLst>
              <a:ext uri="{FF2B5EF4-FFF2-40B4-BE49-F238E27FC236}">
                <a16:creationId xmlns:a16="http://schemas.microsoft.com/office/drawing/2014/main" id="{297EF4DF-EEA0-C14B-8C81-FADDCFF31A89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0" y="1984326"/>
            <a:ext cx="4840726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0CF763CC-227B-2947-8AD7-669576A57A88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537424" y="1984329"/>
            <a:ext cx="5199458" cy="479059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2F8EC12-2E52-1D4E-8CAB-CA9D7AF178EA}"/>
              </a:ext>
            </a:extLst>
          </p:cNvPr>
          <p:cNvCxnSpPr>
            <a:cxnSpLocks/>
          </p:cNvCxnSpPr>
          <p:nvPr userDrawn="1"/>
        </p:nvCxnSpPr>
        <p:spPr>
          <a:xfrm>
            <a:off x="342900" y="4260354"/>
            <a:ext cx="50006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4067C59-E355-0F45-815B-04000CC0F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584F696-EB57-EF4F-B9BE-DD73C5148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CC34BF5-5F1D-1B41-9DCE-569056C367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1B65A7-0666-1843-B6A6-10F76FE172DD}"/>
              </a:ext>
            </a:extLst>
          </p:cNvPr>
          <p:cNvCxnSpPr>
            <a:cxnSpLocks/>
          </p:cNvCxnSpPr>
          <p:nvPr userDrawn="1"/>
        </p:nvCxnSpPr>
        <p:spPr>
          <a:xfrm>
            <a:off x="342901" y="1593325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DBD27E2-5C7A-5D49-A7D0-E7D58B4C7272}"/>
              </a:ext>
            </a:extLst>
          </p:cNvPr>
          <p:cNvCxnSpPr>
            <a:cxnSpLocks/>
          </p:cNvCxnSpPr>
          <p:nvPr userDrawn="1"/>
        </p:nvCxnSpPr>
        <p:spPr>
          <a:xfrm>
            <a:off x="5544286" y="1596467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hart Placeholder 10">
            <a:extLst>
              <a:ext uri="{FF2B5EF4-FFF2-40B4-BE49-F238E27FC236}">
                <a16:creationId xmlns:a16="http://schemas.microsoft.com/office/drawing/2014/main" id="{EDF3F533-F9BE-974D-9C5E-80E488BA2A49}"/>
              </a:ext>
            </a:extLst>
          </p:cNvPr>
          <p:cNvSpPr>
            <a:spLocks noGrp="1"/>
          </p:cNvSpPr>
          <p:nvPr>
            <p:ph type="chart" sz="quarter" idx="63"/>
          </p:nvPr>
        </p:nvSpPr>
        <p:spPr>
          <a:xfrm>
            <a:off x="342900" y="4651326"/>
            <a:ext cx="4840726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D32261-5E28-BB43-90E6-07CA5A0644F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256610" y="1604865"/>
            <a:ext cx="1648391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30B02A8-264B-2649-8C99-0954BB646FC7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5537426" y="1622205"/>
            <a:ext cx="1648391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ABD4C0D-5612-F64C-BBE0-0958A3E2F02F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280847" y="4280806"/>
            <a:ext cx="1648391" cy="431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65667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>
          <p15:clr>
            <a:srgbClr val="FBAE40"/>
          </p15:clr>
        </p15:guide>
        <p15:guide id="2" orient="horz" pos="2952">
          <p15:clr>
            <a:srgbClr val="FBAE40"/>
          </p15:clr>
        </p15:guide>
        <p15:guide id="3" orient="horz" pos="1584">
          <p15:clr>
            <a:srgbClr val="FBAE40"/>
          </p15:clr>
        </p15:guide>
        <p15:guide id="4" orient="horz" pos="3264">
          <p15:clr>
            <a:srgbClr val="FBAE40"/>
          </p15:clr>
        </p15:guide>
        <p15:guide id="5" pos="4344">
          <p15:clr>
            <a:srgbClr val="FBAE40"/>
          </p15:clr>
        </p15:guide>
        <p15:guide id="7" pos="9024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B3A1047-930C-6F4F-8B70-B99010B55D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B3A1047-930C-6F4F-8B70-B99010B55D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4FD1F37D-CDDB-0F40-8024-6FE33232572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42901" y="1450244"/>
            <a:ext cx="9886950" cy="57531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9B492A2-E489-124B-8590-6C0A7F3E0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6EEC542-18BA-B24E-807C-41CBBF20EE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79F894B-1FED-1245-97AE-8AB3F133AB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3354661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64">
          <p15:clr>
            <a:srgbClr val="FBAE40"/>
          </p15:clr>
        </p15:guide>
        <p15:guide id="2" orient="horz" pos="1008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E56370-286B-D546-B88A-F0DD5D5C5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4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E56370-286B-D546-B88A-F0DD5D5C5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able Placeholder 15">
            <a:extLst>
              <a:ext uri="{FF2B5EF4-FFF2-40B4-BE49-F238E27FC236}">
                <a16:creationId xmlns:a16="http://schemas.microsoft.com/office/drawing/2014/main" id="{70330F66-71DD-C040-9AEE-D6C10A76785F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42900" y="1732085"/>
            <a:ext cx="10287000" cy="4610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>
              <a:latin typeface="Segoe UI" panose="020B0502040204020203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C53B2-5349-1947-8C1E-E58DFF586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3F88C7F-CC0C-0D45-A8CC-A87557038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CEE5879-8659-2C46-8C0E-6E341E7CC1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826736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168">
          <p15:clr>
            <a:srgbClr val="FBAE40"/>
          </p15:clr>
        </p15:guide>
        <p15:guide id="2" orient="horz" pos="1440">
          <p15:clr>
            <a:srgbClr val="FBAE40"/>
          </p15:clr>
        </p15:guide>
        <p15:guide id="3" orient="horz" pos="4344">
          <p15:clr>
            <a:srgbClr val="FBAE40"/>
          </p15:clr>
        </p15:guide>
        <p15:guide id="4" pos="909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0234ADA-DD1C-A74C-916C-C972FB304774}"/>
              </a:ext>
            </a:extLst>
          </p:cNvPr>
          <p:cNvSpPr/>
          <p:nvPr userDrawn="1"/>
        </p:nvSpPr>
        <p:spPr>
          <a:xfrm>
            <a:off x="342900" y="3009900"/>
            <a:ext cx="2551176" cy="4306824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n>
                <a:noFill/>
              </a:ln>
              <a:solidFill>
                <a:srgbClr val="E9E9E9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94BCB9-3949-2E45-85C9-5CEE1536AB52}"/>
              </a:ext>
            </a:extLst>
          </p:cNvPr>
          <p:cNvSpPr/>
          <p:nvPr userDrawn="1"/>
        </p:nvSpPr>
        <p:spPr>
          <a:xfrm>
            <a:off x="5500942" y="3009900"/>
            <a:ext cx="2551176" cy="4306824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271C14-ED70-8C4F-9A9D-0038D0B4F6A8}"/>
              </a:ext>
            </a:extLst>
          </p:cNvPr>
          <p:cNvSpPr/>
          <p:nvPr userDrawn="1"/>
        </p:nvSpPr>
        <p:spPr>
          <a:xfrm>
            <a:off x="8079819" y="3009900"/>
            <a:ext cx="2551176" cy="4305300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rgbClr val="FFFFFF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CCE8E2-20BB-4D4B-B82D-272D8D226EE3}"/>
              </a:ext>
            </a:extLst>
          </p:cNvPr>
          <p:cNvSpPr/>
          <p:nvPr userDrawn="1"/>
        </p:nvSpPr>
        <p:spPr>
          <a:xfrm>
            <a:off x="2921695" y="3009900"/>
            <a:ext cx="2551176" cy="4306824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0E047483-1460-4B4C-8403-B3511EF40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9AEE7414-462C-2C4F-83B8-B844CD89EF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C1D65FD-AF2E-7E44-B68C-399AD07E11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AFC83656-3F6C-5D4A-9B1F-3024A248D12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477837" y="4977569"/>
            <a:ext cx="1991044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2" name="Text Placeholder 35">
            <a:extLst>
              <a:ext uri="{FF2B5EF4-FFF2-40B4-BE49-F238E27FC236}">
                <a16:creationId xmlns:a16="http://schemas.microsoft.com/office/drawing/2014/main" id="{56AAEC07-AECA-1B4F-988F-3330DB8CD83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044285" y="4977569"/>
            <a:ext cx="199634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3" name="Text Placeholder 35">
            <a:extLst>
              <a:ext uri="{FF2B5EF4-FFF2-40B4-BE49-F238E27FC236}">
                <a16:creationId xmlns:a16="http://schemas.microsoft.com/office/drawing/2014/main" id="{CD1370D0-73FB-2D43-9EA9-430A6DCA274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610731" y="4977569"/>
            <a:ext cx="199115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5D2AFB2B-6A55-6349-B629-7E84E2966DA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91319" y="4977569"/>
            <a:ext cx="1991157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601E793F-9A64-2B47-BB2B-5A0A5CB1C25A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4953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771CF32-CFAC-434D-80F4-B55690CC685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0480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FF3A270C-236F-DB43-AA87-A292403753A6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6007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70253B5C-2F2A-834A-85D4-7D739538370E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191500" y="3343102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E1F32C06-61AB-6148-9F44-76926C76C9E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3048762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516BACAA-4DAC-9E41-B886-9B588424A704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5620512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229B95EF-59F9-2A4B-896D-853AAFE1CB8A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8199120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AD96E48C-7839-7245-B664-B139CBE2F991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490913" y="5276284"/>
            <a:ext cx="1937004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</a:t>
            </a:r>
          </a:p>
          <a:p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599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8" userDrawn="1">
          <p15:clr>
            <a:srgbClr val="FBAE40"/>
          </p15:clr>
        </p15:guide>
        <p15:guide id="4" pos="6462" userDrawn="1">
          <p15:clr>
            <a:srgbClr val="FBAE40"/>
          </p15:clr>
        </p15:guide>
        <p15:guide id="8" orient="horz" pos="2280" userDrawn="1">
          <p15:clr>
            <a:srgbClr val="FBAE40"/>
          </p15:clr>
        </p15:guide>
        <p15:guide id="9" orient="horz" pos="3168" userDrawn="1">
          <p15:clr>
            <a:srgbClr val="FBAE40"/>
          </p15:clr>
        </p15:guide>
        <p15:guide id="10" orient="horz" pos="4368" userDrawn="1">
          <p15:clr>
            <a:srgbClr val="FBAE40"/>
          </p15:clr>
        </p15:guide>
        <p15:guide id="11" pos="342" userDrawn="1">
          <p15:clr>
            <a:srgbClr val="FBAE40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A7FB56-91FA-BD44-BC8B-8F808ED4F8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5A7FB56-91FA-BD44-BC8B-8F808ED4F8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35">
            <a:extLst>
              <a:ext uri="{FF2B5EF4-FFF2-40B4-BE49-F238E27FC236}">
                <a16:creationId xmlns:a16="http://schemas.microsoft.com/office/drawing/2014/main" id="{B4104D62-73E6-5B42-BD35-00CF80AE501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291526" y="1241816"/>
            <a:ext cx="8327135" cy="624535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  <a:p>
            <a:pPr lvl="0"/>
            <a:r>
              <a:rPr lang="en-US"/>
              <a:t>one or two lin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51329D8A-67D3-DA48-AE3F-2E65C6CEB0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4015" y="382368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94CF4528-465A-B44E-AA97-0546ACEC53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7004" y="382368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76DCCC1C-1103-CD46-9BD1-BD2B7DC0B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198" y="5923058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C2AC456B-3A6A-194A-B655-9BEBD5781A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186" y="5923058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C489074A-EA72-8747-B5E6-F943B42198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83184" y="426320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C717E74A-F4BB-F543-878B-EFFCC950D6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26172" y="426320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4446F7A9-B883-6C45-8B65-1AB08F48BF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87294" y="5905449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Title here</a:t>
            </a:r>
          </a:p>
        </p:txBody>
      </p:sp>
      <p:sp>
        <p:nvSpPr>
          <p:cNvPr id="62" name="Text Placeholder 14">
            <a:extLst>
              <a:ext uri="{FF2B5EF4-FFF2-40B4-BE49-F238E27FC236}">
                <a16:creationId xmlns:a16="http://schemas.microsoft.com/office/drawing/2014/main" id="{1ED9D119-EA92-2040-808F-0BF5119B40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0282" y="5905449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7824662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692">
          <p15:clr>
            <a:srgbClr val="FBAE40"/>
          </p15:clr>
        </p15:guide>
        <p15:guide id="5" pos="2160">
          <p15:clr>
            <a:srgbClr val="FBAE40"/>
          </p15:clr>
        </p15:guide>
        <p15:guide id="6" orient="horz" pos="1032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8895291-4849-7545-9D98-7BD25A332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8895291-4849-7545-9D98-7BD25A332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E105F7-1BB2-F34D-985C-F926963095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7178BE-4645-7249-A632-CD9EF34D5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2AD0116-3696-BD4B-A8E6-28DC783419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0"/>
            <a:ext cx="10226993" cy="2277683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6000" b="1" i="0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/>
              <a:t>Thank you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20DCA0D-6C9C-4840-8BF5-F1C4AAB39470}"/>
              </a:ext>
            </a:extLst>
          </p:cNvPr>
          <p:cNvSpPr txBox="1">
            <a:spLocks/>
          </p:cNvSpPr>
          <p:nvPr userDrawn="1"/>
        </p:nvSpPr>
        <p:spPr>
          <a:xfrm>
            <a:off x="275755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>
                <a:latin typeface="Segoe UI" panose="020B0502040204020203" pitchFamily="34" charset="0"/>
                <a:sym typeface="Segoe UI" panose="020B0502040204020203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24369381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8D6E40-51B1-9D47-9902-1831C1FA7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2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08D6E40-51B1-9D47-9902-1831C1FA7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3535D62-0563-C943-9D17-AF4D334A0AA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10812" y="3127402"/>
            <a:ext cx="2551176" cy="1974799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2A042-2972-BC4D-B818-B0124095F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7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88CC1EAB-BEEB-0142-A1BA-F7313EF40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46855663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32" b="1" i="0">
                <a:solidFill>
                  <a:srgbClr val="8D929B"/>
                </a:solidFill>
                <a:latin typeface="Arial"/>
                <a:cs typeface="Arial"/>
              </a:defRPr>
            </a:lvl1pPr>
          </a:lstStyle>
          <a:p>
            <a:pPr marL="30256">
              <a:lnSpc>
                <a:spcPts val="1219"/>
              </a:lnSpc>
            </a:pPr>
            <a:fld id="{81D60167-4931-47E6-BA6A-407CBD079E47}" type="slidenum">
              <a:rPr lang="en-US" smtClean="0"/>
              <a:pPr marL="30256">
                <a:lnSpc>
                  <a:spcPts val="1219"/>
                </a:lnSpc>
              </a:pPr>
              <a:t>‹#›</a:t>
            </a:fld>
            <a:r>
              <a:rPr lang="en-US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3775995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22960" y="1346836"/>
            <a:ext cx="9326880" cy="2865120"/>
          </a:xfrm>
        </p:spPr>
        <p:txBody>
          <a:bodyPr anchor="b"/>
          <a:lstStyle>
            <a:lvl1pPr algn="ctr"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322446"/>
            <a:ext cx="8229600" cy="1986914"/>
          </a:xfrm>
        </p:spPr>
        <p:txBody>
          <a:bodyPr/>
          <a:lstStyle>
            <a:lvl1pPr marL="0" indent="0" algn="ctr">
              <a:buNone/>
              <a:defRPr sz="2880"/>
            </a:lvl1pPr>
            <a:lvl2pPr marL="548640" indent="0" algn="ctr">
              <a:buNone/>
              <a:defRPr sz="2400"/>
            </a:lvl2pPr>
            <a:lvl3pPr marL="1097280" indent="0" algn="ctr">
              <a:buNone/>
              <a:defRPr sz="2160"/>
            </a:lvl3pPr>
            <a:lvl4pPr marL="1645920" indent="0" algn="ctr">
              <a:buNone/>
              <a:defRPr sz="1920"/>
            </a:lvl4pPr>
            <a:lvl5pPr marL="2194560" indent="0" algn="ctr">
              <a:buNone/>
              <a:defRPr sz="1920"/>
            </a:lvl5pPr>
            <a:lvl6pPr marL="2743200" indent="0" algn="ctr">
              <a:buNone/>
              <a:defRPr sz="1920"/>
            </a:lvl6pPr>
            <a:lvl7pPr marL="3291840" indent="0" algn="ctr">
              <a:buNone/>
              <a:defRPr sz="1920"/>
            </a:lvl7pPr>
            <a:lvl8pPr marL="3840480" indent="0" algn="ctr">
              <a:buNone/>
              <a:defRPr sz="1920"/>
            </a:lvl8pPr>
            <a:lvl9pPr marL="4389120" indent="0" algn="ctr">
              <a:buNone/>
              <a:defRPr sz="192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017976"/>
      </p:ext>
    </p:extLst>
  </p:cSld>
  <p:clrMapOvr>
    <a:masterClrMapping/>
  </p:clrMapOvr>
  <p:hf hdr="0" dt="0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320B73-E64A-46A2-8E91-7F8B24202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852921"/>
      </p:ext>
    </p:extLst>
  </p:cSld>
  <p:clrMapOvr>
    <a:masterClrMapping/>
  </p:clrMapOvr>
  <p:hf hdr="0" dt="0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8666" y="2051688"/>
            <a:ext cx="9464040" cy="3423284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8666" y="5507358"/>
            <a:ext cx="9464040" cy="1800224"/>
          </a:xfrm>
        </p:spPr>
        <p:txBody>
          <a:bodyPr/>
          <a:lstStyle>
            <a:lvl1pPr marL="0" indent="0">
              <a:buNone/>
              <a:defRPr sz="2880">
                <a:solidFill>
                  <a:schemeClr val="tx1"/>
                </a:solidFill>
              </a:defRPr>
            </a:lvl1pPr>
            <a:lvl2pPr marL="54864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097280" indent="0">
              <a:buNone/>
              <a:defRPr sz="2160">
                <a:solidFill>
                  <a:schemeClr val="tx1">
                    <a:tint val="75000"/>
                  </a:schemeClr>
                </a:solidFill>
              </a:defRPr>
            </a:lvl3pPr>
            <a:lvl4pPr marL="16459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4pPr>
            <a:lvl5pPr marL="219456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5pPr>
            <a:lvl6pPr marL="274320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6pPr>
            <a:lvl7pPr marL="329184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7pPr>
            <a:lvl8pPr marL="384048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8pPr>
            <a:lvl9pPr marL="438912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42590"/>
      </p:ext>
    </p:extLst>
  </p:cSld>
  <p:clrMapOvr>
    <a:masterClrMapping/>
  </p:clrMapOvr>
  <p:hf hdr="0" dt="0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54380" y="2190750"/>
            <a:ext cx="4663440" cy="5221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54980" y="2190750"/>
            <a:ext cx="4663440" cy="52216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162491"/>
      </p:ext>
    </p:extLst>
  </p:cSld>
  <p:clrMapOvr>
    <a:masterClrMapping/>
  </p:clrMapOvr>
  <p:hf hdr="0" dt="0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438152"/>
            <a:ext cx="9464040" cy="15906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810" y="2017396"/>
            <a:ext cx="4642008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810" y="3006090"/>
            <a:ext cx="4642008" cy="44215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4981" y="2017396"/>
            <a:ext cx="4664869" cy="988694"/>
          </a:xfrm>
        </p:spPr>
        <p:txBody>
          <a:bodyPr anchor="b"/>
          <a:lstStyle>
            <a:lvl1pPr marL="0" indent="0">
              <a:buNone/>
              <a:defRPr sz="2880" b="1"/>
            </a:lvl1pPr>
            <a:lvl2pPr marL="548640" indent="0">
              <a:buNone/>
              <a:defRPr sz="2400" b="1"/>
            </a:lvl2pPr>
            <a:lvl3pPr marL="1097280" indent="0">
              <a:buNone/>
              <a:defRPr sz="2160" b="1"/>
            </a:lvl3pPr>
            <a:lvl4pPr marL="1645920" indent="0">
              <a:buNone/>
              <a:defRPr sz="1920" b="1"/>
            </a:lvl4pPr>
            <a:lvl5pPr marL="2194560" indent="0">
              <a:buNone/>
              <a:defRPr sz="1920" b="1"/>
            </a:lvl5pPr>
            <a:lvl6pPr marL="2743200" indent="0">
              <a:buNone/>
              <a:defRPr sz="1920" b="1"/>
            </a:lvl6pPr>
            <a:lvl7pPr marL="3291840" indent="0">
              <a:buNone/>
              <a:defRPr sz="1920" b="1"/>
            </a:lvl7pPr>
            <a:lvl8pPr marL="3840480" indent="0">
              <a:buNone/>
              <a:defRPr sz="1920" b="1"/>
            </a:lvl8pPr>
            <a:lvl9pPr marL="4389120" indent="0">
              <a:buNone/>
              <a:defRPr sz="192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4981" y="3006090"/>
            <a:ext cx="4664869" cy="44215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676043"/>
      </p:ext>
    </p:extLst>
  </p:cSld>
  <p:clrMapOvr>
    <a:masterClrMapping/>
  </p:clrMapOvr>
  <p:hf hdr="0" dt="0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066449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7">
            <a:extLst>
              <a:ext uri="{FF2B5EF4-FFF2-40B4-BE49-F238E27FC236}">
                <a16:creationId xmlns:a16="http://schemas.microsoft.com/office/drawing/2014/main" id="{8DCEA276-9209-A441-A46A-C9C61A22AB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74322" y="2569464"/>
            <a:ext cx="5143501" cy="4745736"/>
          </a:xfrm>
          <a:prstGeom prst="rect">
            <a:avLst/>
          </a:prstGeom>
        </p:spPr>
        <p:txBody>
          <a:bodyPr>
            <a:normAutofit/>
          </a:bodyPr>
          <a:lstStyle>
            <a:lvl1pPr marL="160004" indent="-160004">
              <a:lnSpc>
                <a:spcPct val="90000"/>
              </a:lnSpc>
              <a:buFont typeface="Arial" panose="020B0604020202020204" pitchFamily="34" charset="0"/>
              <a:buChar char="•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154292" marR="0" indent="0" algn="l" defTabSz="822878" rtl="0" eaLnBrk="1" fontAlgn="auto" latinLnBrk="0" hangingPunct="1">
              <a:lnSpc>
                <a:spcPct val="9000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  <a:p>
            <a:pPr marL="310010" marR="0" lvl="1" indent="-155719" algn="l" defTabSz="822878" rtl="0" eaLnBrk="1" fontAlgn="auto" latinLnBrk="0" hangingPunct="1">
              <a:lnSpc>
                <a:spcPts val="2250"/>
              </a:lnSpc>
              <a:spcBef>
                <a:spcPts val="451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 pro </a:t>
            </a:r>
            <a:r>
              <a:rPr lang="en-US" dirty="0" err="1"/>
              <a:t>berrunti</a:t>
            </a:r>
            <a:r>
              <a:rPr lang="en-US" dirty="0"/>
              <a:t> re quo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DB8790C-9C94-8345-B804-9E75D9B4DB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FD5D61A-2FD6-4D4C-B1CF-F215103CD5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38C6021-8DB3-1642-94F8-111AD16A6AD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1183411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728" userDrawn="1">
          <p15:clr>
            <a:srgbClr val="FBAE40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682465"/>
      </p:ext>
    </p:extLst>
  </p:cSld>
  <p:clrMapOvr>
    <a:masterClrMapping/>
  </p:clrMapOvr>
  <p:hf hdr="0" dt="0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548640"/>
            <a:ext cx="353901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4869" y="1184912"/>
            <a:ext cx="5554980" cy="5848350"/>
          </a:xfrm>
        </p:spPr>
        <p:txBody>
          <a:bodyPr/>
          <a:lstStyle>
            <a:lvl1pPr>
              <a:defRPr sz="3840"/>
            </a:lvl1pPr>
            <a:lvl2pPr>
              <a:defRPr sz="3360"/>
            </a:lvl2pPr>
            <a:lvl3pPr>
              <a:defRPr sz="288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09" y="2468880"/>
            <a:ext cx="353901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567381"/>
      </p:ext>
    </p:extLst>
  </p:cSld>
  <p:clrMapOvr>
    <a:masterClrMapping/>
  </p:clrMapOvr>
  <p:hf hdr="0" dt="0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809" y="548640"/>
            <a:ext cx="3539014" cy="1920240"/>
          </a:xfrm>
        </p:spPr>
        <p:txBody>
          <a:bodyPr anchor="b"/>
          <a:lstStyle>
            <a:lvl1pPr>
              <a:defRPr sz="384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664869" y="1184912"/>
            <a:ext cx="5554980" cy="5848350"/>
          </a:xfrm>
        </p:spPr>
        <p:txBody>
          <a:bodyPr anchor="t"/>
          <a:lstStyle>
            <a:lvl1pPr marL="0" indent="0">
              <a:buNone/>
              <a:defRPr sz="3840"/>
            </a:lvl1pPr>
            <a:lvl2pPr marL="548640" indent="0">
              <a:buNone/>
              <a:defRPr sz="3360"/>
            </a:lvl2pPr>
            <a:lvl3pPr marL="1097280" indent="0">
              <a:buNone/>
              <a:defRPr sz="2880"/>
            </a:lvl3pPr>
            <a:lvl4pPr marL="1645920" indent="0">
              <a:buNone/>
              <a:defRPr sz="2400"/>
            </a:lvl4pPr>
            <a:lvl5pPr marL="2194560" indent="0">
              <a:buNone/>
              <a:defRPr sz="2400"/>
            </a:lvl5pPr>
            <a:lvl6pPr marL="2743200" indent="0">
              <a:buNone/>
              <a:defRPr sz="2400"/>
            </a:lvl6pPr>
            <a:lvl7pPr marL="3291840" indent="0">
              <a:buNone/>
              <a:defRPr sz="2400"/>
            </a:lvl7pPr>
            <a:lvl8pPr marL="3840480" indent="0">
              <a:buNone/>
              <a:defRPr sz="2400"/>
            </a:lvl8pPr>
            <a:lvl9pPr marL="4389120" indent="0">
              <a:buNone/>
              <a:defRPr sz="24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809" y="2468880"/>
            <a:ext cx="3539014" cy="4573906"/>
          </a:xfrm>
        </p:spPr>
        <p:txBody>
          <a:bodyPr/>
          <a:lstStyle>
            <a:lvl1pPr marL="0" indent="0">
              <a:buNone/>
              <a:defRPr sz="1920"/>
            </a:lvl1pPr>
            <a:lvl2pPr marL="548640" indent="0">
              <a:buNone/>
              <a:defRPr sz="1680"/>
            </a:lvl2pPr>
            <a:lvl3pPr marL="1097280" indent="0">
              <a:buNone/>
              <a:defRPr sz="1440"/>
            </a:lvl3pPr>
            <a:lvl4pPr marL="1645920" indent="0">
              <a:buNone/>
              <a:defRPr sz="1200"/>
            </a:lvl4pPr>
            <a:lvl5pPr marL="2194560" indent="0">
              <a:buNone/>
              <a:defRPr sz="1200"/>
            </a:lvl5pPr>
            <a:lvl6pPr marL="2743200" indent="0">
              <a:buNone/>
              <a:defRPr sz="1200"/>
            </a:lvl6pPr>
            <a:lvl7pPr marL="3291840" indent="0">
              <a:buNone/>
              <a:defRPr sz="1200"/>
            </a:lvl7pPr>
            <a:lvl8pPr marL="3840480" indent="0">
              <a:buNone/>
              <a:defRPr sz="1200"/>
            </a:lvl8pPr>
            <a:lvl9pPr marL="4389120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803478"/>
      </p:ext>
    </p:extLst>
  </p:cSld>
  <p:clrMapOvr>
    <a:masterClrMapping/>
  </p:clrMapOvr>
  <p:hf hdr="0" dt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92102"/>
      </p:ext>
    </p:extLst>
  </p:cSld>
  <p:clrMapOvr>
    <a:masterClrMapping/>
  </p:clrMapOvr>
  <p:hf hdr="0" dt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411" y="438150"/>
            <a:ext cx="2366010" cy="697420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4381" y="438150"/>
            <a:ext cx="6960870" cy="697420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6788331"/>
      </p:ext>
    </p:extLst>
  </p:cSld>
  <p:clrMapOvr>
    <a:masterClrMapping/>
  </p:clrMapOvr>
  <p:hf hdr="0" dt="0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Take Away_EQB_0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4793EE-2097-5542-802F-21020F67F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0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4793EE-2097-5542-802F-21020F67F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B9916-33A5-F845-9B53-350A76D40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0229" y="7620500"/>
            <a:ext cx="297575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C9064A-C798-FE4D-981A-1D4C6367E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10718" y="7517567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8F6FF84-D854-EA44-9D0E-A499B83FD5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8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6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E8D5EE4-D590-8844-B0D8-8876B8E0AC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6101457-19F1-47B8-94F9-1866E0879FE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482114" y="2"/>
            <a:ext cx="5490686" cy="8229599"/>
          </a:xfrm>
          <a:prstGeom prst="rect">
            <a:avLst/>
          </a:prstGeom>
          <a:solidFill>
            <a:schemeClr val="bg2">
              <a:lumMod val="65000"/>
            </a:schemeClr>
          </a:solidFill>
        </p:spPr>
        <p:txBody>
          <a:bodyPr anchor="ctr" anchorCtr="1"/>
          <a:lstStyle>
            <a:lvl1pPr>
              <a:defRPr lang="en-US" sz="826" dirty="0">
                <a:solidFill>
                  <a:schemeClr val="accent3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</a:defRPr>
            </a:lvl1pPr>
          </a:lstStyle>
          <a:p>
            <a:pPr marL="0" lvl="0" indent="0" algn="ctr">
              <a:buNone/>
            </a:pPr>
            <a:r>
              <a:rPr lang="en-US" sz="826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6086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 slide_EQB_04 w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drawing of a face&#10;&#10;Description automatically generated">
            <a:extLst>
              <a:ext uri="{FF2B5EF4-FFF2-40B4-BE49-F238E27FC236}">
                <a16:creationId xmlns:a16="http://schemas.microsoft.com/office/drawing/2014/main" id="{FFF65200-54FE-044C-B64B-25BE9E4A9A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alphaModFix/>
          </a:blip>
          <a:srcRect l="17663"/>
          <a:stretch/>
        </p:blipFill>
        <p:spPr>
          <a:xfrm>
            <a:off x="1" y="731520"/>
            <a:ext cx="10972799" cy="749808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63FF8A-BB29-1249-9B7C-1C72E463B4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63FF8A-BB29-1249-9B7C-1C72E463B4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AD78B5EF-CDB0-084B-AA80-3E4E200600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8758" y="3586002"/>
            <a:ext cx="5006518" cy="22368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buNone/>
              <a:defRPr sz="360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title here one or two lines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6110A4B-BB09-FB44-8962-076AB3B516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8759" y="6798679"/>
            <a:ext cx="4784068" cy="285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5A79FD7-893D-8D42-80AE-9932D8266E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8759" y="7083877"/>
            <a:ext cx="2700028" cy="28519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 b="0" i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F27F4F1-4049-714D-B58D-C94B58229F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09822" y="482803"/>
            <a:ext cx="1965656" cy="114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93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40">
          <p15:clr>
            <a:srgbClr val="FBAE40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_EQB_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785775A-A2A4-3448-9D64-1BD80A4B30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8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785775A-A2A4-3448-9D64-1BD80A4B30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270F1CF1-190E-D04C-B754-73CA21E113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CB514DA-CD07-F544-9B85-5F93F1704E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39" y="2653993"/>
            <a:ext cx="4208062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6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  <a:lvl2pPr marL="411450" indent="0" algn="ctr">
              <a:buNone/>
              <a:defRPr sz="1800"/>
            </a:lvl2pPr>
            <a:lvl3pPr marL="822899" indent="0" algn="ctr">
              <a:buNone/>
              <a:defRPr sz="1620"/>
            </a:lvl3pPr>
            <a:lvl4pPr marL="1234349" indent="0" algn="ctr">
              <a:buNone/>
              <a:defRPr sz="1440"/>
            </a:lvl4pPr>
            <a:lvl5pPr marL="1645798" indent="0" algn="ctr">
              <a:buNone/>
              <a:defRPr sz="1440"/>
            </a:lvl5pPr>
            <a:lvl6pPr marL="2057245" indent="0" algn="ctr">
              <a:buNone/>
              <a:defRPr sz="1440"/>
            </a:lvl6pPr>
            <a:lvl7pPr marL="2468694" indent="0" algn="ctr">
              <a:buNone/>
              <a:defRPr sz="1440"/>
            </a:lvl7pPr>
            <a:lvl8pPr marL="2880144" indent="0" algn="ctr">
              <a:buNone/>
              <a:defRPr sz="1440"/>
            </a:lvl8pPr>
            <a:lvl9pPr marL="3291594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16FFEE-BBC8-DD42-806B-070FB8BB2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A155C0-57F6-0342-A9B6-29220FA83E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71437775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70BB4B8-EB27-4CE4-8BD9-7D533AC0622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382" y="1"/>
            <a:ext cx="10970419" cy="5927064"/>
          </a:xfrm>
          <a:prstGeom prst="rect">
            <a:avLst/>
          </a:prstGeom>
          <a:solidFill>
            <a:schemeClr val="bg2">
              <a:lumMod val="65000"/>
            </a:schemeClr>
          </a:solidFill>
        </p:spPr>
        <p:txBody>
          <a:bodyPr anchor="ctr" anchorCtr="1"/>
          <a:lstStyle>
            <a:lvl1pPr marL="0" indent="0" algn="ctr">
              <a:buNone/>
              <a:defRPr lang="en-US" sz="1050" smtClean="0">
                <a:solidFill>
                  <a:schemeClr val="accent3"/>
                </a:solidFill>
                <a:effectLst/>
              </a:defRPr>
            </a:lvl1pPr>
          </a:lstStyle>
          <a:p>
            <a:r>
              <a:rPr lang="en-US" sz="826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Click here to replace with approved photography from the Brand HUB.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E9C603-CD46-4766-8DD3-AB58D2EB30F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0" y="4851400"/>
            <a:ext cx="10972800" cy="33782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004B21-312F-5F40-8DB7-BAF115E8A5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2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004B21-312F-5F40-8DB7-BAF115E8A5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5FD2F7-360C-EB48-9E5E-E9E9C1CEAA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7FE2B057-02FC-4A41-A393-68D958BFA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09879" y="7615599"/>
            <a:ext cx="3703320" cy="21891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27F593F-FD28-8548-9E62-E8C7722A90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en-US" sz="4050" b="1" i="0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marL="205735" lvl="0" indent="-205735" algn="ctr">
              <a:lnSpc>
                <a:spcPct val="85000"/>
              </a:lnSpc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411898245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formation slide_EQB_0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DAF127-12CF-3A48-AB59-73265F2AF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6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DAF127-12CF-3A48-AB59-73265F2AF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3B957D0-7A04-AA42-B0A7-4D42C6A01B0D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13EA62-46A0-C048-B111-C692D2727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5830" y="3312518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DB292C36-D2BD-D84C-BECF-935BEE8C31F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2" y="33112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6874B26-F31F-F748-8186-544B9E8273D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42138" y="33112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594E4948-6C0F-1743-8F69-87F2985AB1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09" y="459462"/>
            <a:ext cx="7543800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6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2FA3CFD-1383-E740-9B0C-2EEDCB17EB27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B6893E18-66C7-114D-A9EE-1EDDCCF757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8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81AA2E14-F288-D84C-BC8D-723D2B5DC5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EBF9A7CB-BD6D-C549-8D16-F85A877388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99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50EC673-7D97-6A44-B5BB-6FE42552ADA7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025D663-6FA1-5C4B-997B-5ADE626717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98CE7A7-D98D-9F44-8E94-6A145036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1DC78F-4D74-6C45-A7FD-2BC85ED6A5B4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266746" y="2766098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C108D266-48D0-D049-8488-C03D84FE1775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15908" y="2766098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8875C7EB-349E-6D40-80A8-60A8A882E953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295498" y="2766098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D0DC32EA-D247-2446-B685-0B9BD2BB81E8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266746" y="5082780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90B2155-FA3B-6344-ACB3-2AE25D6F3745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3815908" y="5082780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7161BBB8-9784-FC4E-AD5F-C885360D51FC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295498" y="5082780"/>
            <a:ext cx="1629966" cy="3916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350">
                <a:solidFill>
                  <a:srgbClr val="FFFFFF"/>
                </a:solidFill>
              </a:defRPr>
            </a:lvl2pPr>
            <a:lvl3pPr>
              <a:defRPr sz="1350">
                <a:solidFill>
                  <a:srgbClr val="FFFFFF"/>
                </a:solidFill>
              </a:defRPr>
            </a:lvl3pPr>
            <a:lvl4pPr>
              <a:defRPr sz="1350">
                <a:solidFill>
                  <a:srgbClr val="FFFFFF"/>
                </a:solidFill>
              </a:defRPr>
            </a:lvl4pPr>
            <a:lvl5pPr>
              <a:defRPr sz="13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4336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>
          <p15:clr>
            <a:srgbClr val="FBAE40"/>
          </p15:clr>
        </p15:guide>
        <p15:guide id="2" pos="2040">
          <p15:clr>
            <a:srgbClr val="FBAE40"/>
          </p15:clr>
        </p15:guide>
        <p15:guide id="3" pos="385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C0136C6-F7AB-8B49-928A-338D3A76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C2B5399-B34C-E849-947E-DA2E8E9433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40F72-08C8-A04F-B3F3-EAD6099F173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81895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48DEA317-5C53-964A-8725-0A575FF6F0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C482676B-8FFD-D249-840A-A4B768AAB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4219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484AE173-66FD-0C4F-9F7F-ED0CFFD441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73401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406438DA-82F4-2041-B4C1-FDA04BB04DA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86299" y="3670306"/>
            <a:ext cx="2388731" cy="2555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EE9E89-CAEA-6749-A5BF-C6CDC24EB7F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81115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252CEB8D-161D-1847-B77C-09583DCD8BE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2876034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36C8D09-4B68-7E43-92BC-03886CC61FD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70953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DC5E1225-9BE0-4247-986F-F2F38964C56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090586" y="4011618"/>
            <a:ext cx="2388394" cy="3303373"/>
          </a:xfrm>
          <a:prstGeom prst="rect">
            <a:avLst/>
          </a:prstGeom>
        </p:spPr>
        <p:txBody>
          <a:bodyPr/>
          <a:lstStyle>
            <a:lvl1pPr marL="300023" indent="-300023">
              <a:lnSpc>
                <a:spcPct val="85000"/>
              </a:lnSpc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</a:p>
          <a:p>
            <a:pPr lvl="0"/>
            <a:r>
              <a:rPr lang="en-US" sz="900" b="0" i="0" dirty="0">
                <a:latin typeface="Segoe UI" panose="020B0502040204020203" pitchFamily="34" charset="0"/>
                <a:cs typeface="Segoe UI" panose="020B0502040204020203" pitchFamily="34" charset="0"/>
              </a:rPr>
              <a:t>Bulleted Li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167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52" userDrawn="1">
          <p15:clr>
            <a:srgbClr val="FBAE40"/>
          </p15:clr>
        </p15:guide>
        <p15:guide id="2" orient="horz" pos="271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0C9CB4-B08E-DF45-B296-5B3DFF34A4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AA584-27BB-2F40-A904-0D13D24B3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025FDBF-FBAB-9144-90F0-4E5B96A09A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4050" b="1" i="0" dirty="0">
                <a:solidFill>
                  <a:schemeClr val="accent1"/>
                </a:solidFill>
                <a:latin typeface="IBM Plex Sans" panose="020B050305020300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238236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4" userDrawn="1">
          <p15:clr>
            <a:srgbClr val="FBAE40"/>
          </p15:clr>
        </p15:guide>
        <p15:guide id="2" orient="horz" userDrawn="1">
          <p15:clr>
            <a:srgbClr val="FBAE40"/>
          </p15:clr>
        </p15:guide>
        <p15:guide id="3" userDrawn="1">
          <p15:clr>
            <a:srgbClr val="FBAE40"/>
          </p15:clr>
        </p15:guide>
        <p15:guide id="4" pos="691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1EA316B1-8B83-4447-9E9B-FC8990B584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DBF914A0-0724-6D44-A730-43399C25E4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AF55CED-C52E-DE4B-A864-765ED6CEC0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47">
            <a:extLst>
              <a:ext uri="{FF2B5EF4-FFF2-40B4-BE49-F238E27FC236}">
                <a16:creationId xmlns:a16="http://schemas.microsoft.com/office/drawing/2014/main" id="{FABE53FC-70A9-7B46-A693-EA6C242AAC2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906525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17" name="Text Placeholder 47">
            <a:extLst>
              <a:ext uri="{FF2B5EF4-FFF2-40B4-BE49-F238E27FC236}">
                <a16:creationId xmlns:a16="http://schemas.microsoft.com/office/drawing/2014/main" id="{AAFA1AFF-9BF5-3047-83C1-29B70132C41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719" y="3670306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18" name="Text Placeholder 47">
            <a:extLst>
              <a:ext uri="{FF2B5EF4-FFF2-40B4-BE49-F238E27FC236}">
                <a16:creationId xmlns:a16="http://schemas.microsoft.com/office/drawing/2014/main" id="{DF0375E5-9244-D04E-9C70-10554E18349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475736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22" name="Text Placeholder 47">
            <a:extLst>
              <a:ext uri="{FF2B5EF4-FFF2-40B4-BE49-F238E27FC236}">
                <a16:creationId xmlns:a16="http://schemas.microsoft.com/office/drawing/2014/main" id="{3C2D9C96-67D2-B447-8672-01E0E5DF3D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092777" y="3650642"/>
            <a:ext cx="2198751" cy="3644897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ody Headline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332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52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74CDF4B0-2E35-9843-BE83-6C144954D58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42900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4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940259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Picture Placeholder 15">
            <a:extLst>
              <a:ext uri="{FF2B5EF4-FFF2-40B4-BE49-F238E27FC236}">
                <a16:creationId xmlns:a16="http://schemas.microsoft.com/office/drawing/2014/main" id="{85178677-6C05-8641-847C-C03510C54C7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531654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8" name="Picture Placeholder 15">
            <a:extLst>
              <a:ext uri="{FF2B5EF4-FFF2-40B4-BE49-F238E27FC236}">
                <a16:creationId xmlns:a16="http://schemas.microsoft.com/office/drawing/2014/main" id="{354CDB8F-F229-6B47-90D2-BFF11BD7EE9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119277" y="3200400"/>
            <a:ext cx="2514600" cy="182880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10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3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6" y="51636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30816B2-6BE8-ED44-B9A3-EF9BCEAFB2E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2879536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ABE6BC68-0A82-3E44-8B2F-E96D5B9779F1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449115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EDB1CC1-73C6-5645-A7D7-7B578CB809C9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8044739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4F387A61-12D4-B848-ACDA-41D6C7CB76CB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266552" y="5429494"/>
            <a:ext cx="2064261" cy="1885711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b="0" i="0" smtClean="0">
                <a:solidFill>
                  <a:srgbClr val="002577"/>
                </a:solidFill>
                <a:effectLst/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Tur solute haunter sasanquas, officiate suntan Experian que praises elm </a:t>
            </a:r>
            <a:r>
              <a:rPr lang="en-US" dirty="0" err="1"/>
              <a:t>fuga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8429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16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7" orient="horz" pos="3288" userDrawn="1">
          <p15:clr>
            <a:srgbClr val="FBAE40"/>
          </p15:clr>
        </p15:guide>
        <p15:guide id="8" orient="horz" pos="3480" userDrawn="1">
          <p15:clr>
            <a:srgbClr val="FBAE40"/>
          </p15:clr>
        </p15:guide>
        <p15:guide id="10" pos="6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CE50B0-06CE-234D-A50F-5C03BAF335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BB6EC60-56E2-8E4F-975D-0BC37E9D95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4A26270-7C0D-9747-90B7-B14A166199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7644BBF-083A-0C42-BAAA-A2EE5BD6FF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75234" y="427240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D10332B1-30F5-F148-902C-7EE51E1D122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2940259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34" name="Text Placeholder 22">
            <a:extLst>
              <a:ext uri="{FF2B5EF4-FFF2-40B4-BE49-F238E27FC236}">
                <a16:creationId xmlns:a16="http://schemas.microsoft.com/office/drawing/2014/main" id="{CEF21668-A6E2-D343-B599-0C02A56D2A8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875310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6" name="Text Placeholder 22">
            <a:extLst>
              <a:ext uri="{FF2B5EF4-FFF2-40B4-BE49-F238E27FC236}">
                <a16:creationId xmlns:a16="http://schemas.microsoft.com/office/drawing/2014/main" id="{ED763576-1EB4-1343-B5F9-68D06692FCD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51533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22">
            <a:extLst>
              <a:ext uri="{FF2B5EF4-FFF2-40B4-BE49-F238E27FC236}">
                <a16:creationId xmlns:a16="http://schemas.microsoft.com/office/drawing/2014/main" id="{629EEB7E-C2C7-FF40-92B6-D720AEC891A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045646" y="42492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2" name="Text Placeholder 22">
            <a:extLst>
              <a:ext uri="{FF2B5EF4-FFF2-40B4-BE49-F238E27FC236}">
                <a16:creationId xmlns:a16="http://schemas.microsoft.com/office/drawing/2014/main" id="{41C27F56-6EFC-A441-9C2D-10CE4433874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5234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0AEAB501-3096-AF4F-B436-6E6240708D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875310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1" name="Text Placeholder 22">
            <a:extLst>
              <a:ext uri="{FF2B5EF4-FFF2-40B4-BE49-F238E27FC236}">
                <a16:creationId xmlns:a16="http://schemas.microsoft.com/office/drawing/2014/main" id="{FD8B8259-35A0-564E-B170-F909CA04F15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451533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2" name="Text Placeholder 22">
            <a:extLst>
              <a:ext uri="{FF2B5EF4-FFF2-40B4-BE49-F238E27FC236}">
                <a16:creationId xmlns:a16="http://schemas.microsoft.com/office/drawing/2014/main" id="{27C9FBE6-5465-1847-9A14-285A9B68F0A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045646" y="699245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5" name="Picture Placeholder 15">
            <a:extLst>
              <a:ext uri="{FF2B5EF4-FFF2-40B4-BE49-F238E27FC236}">
                <a16:creationId xmlns:a16="http://schemas.microsoft.com/office/drawing/2014/main" id="{78AC1F9C-0EA2-6940-87FC-B71E90AE410D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5518520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37" name="Picture Placeholder 15">
            <a:extLst>
              <a:ext uri="{FF2B5EF4-FFF2-40B4-BE49-F238E27FC236}">
                <a16:creationId xmlns:a16="http://schemas.microsoft.com/office/drawing/2014/main" id="{3D133F5B-4C0C-004F-9093-B7D3D6DED8A4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8122824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0" name="Picture Placeholder 15">
            <a:extLst>
              <a:ext uri="{FF2B5EF4-FFF2-40B4-BE49-F238E27FC236}">
                <a16:creationId xmlns:a16="http://schemas.microsoft.com/office/drawing/2014/main" id="{AC540D40-8013-854D-B2C3-76FDC36525D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2940259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1" name="Picture Placeholder 15">
            <a:extLst>
              <a:ext uri="{FF2B5EF4-FFF2-40B4-BE49-F238E27FC236}">
                <a16:creationId xmlns:a16="http://schemas.microsoft.com/office/drawing/2014/main" id="{9E94E62A-05C7-E243-93CC-EDC4EAB951A8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518520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2" name="Picture Placeholder 15">
            <a:extLst>
              <a:ext uri="{FF2B5EF4-FFF2-40B4-BE49-F238E27FC236}">
                <a16:creationId xmlns:a16="http://schemas.microsoft.com/office/drawing/2014/main" id="{B75EE488-C0ED-E44E-987B-7A0179559C76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8122824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3" name="Picture Placeholder 15">
            <a:extLst>
              <a:ext uri="{FF2B5EF4-FFF2-40B4-BE49-F238E27FC236}">
                <a16:creationId xmlns:a16="http://schemas.microsoft.com/office/drawing/2014/main" id="{906C6984-65CE-7B45-B326-F57045AFC461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344636" y="50292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4B1C4EE-1A0F-9646-A3FE-5C6D576B0B32}"/>
              </a:ext>
            </a:extLst>
          </p:cNvPr>
          <p:cNvSpPr txBox="1"/>
          <p:nvPr userDrawn="1"/>
        </p:nvSpPr>
        <p:spPr>
          <a:xfrm>
            <a:off x="2948940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C96F487-8696-E746-BE29-3D797D4E3500}"/>
              </a:ext>
            </a:extLst>
          </p:cNvPr>
          <p:cNvSpPr txBox="1"/>
          <p:nvPr userDrawn="1"/>
        </p:nvSpPr>
        <p:spPr>
          <a:xfrm>
            <a:off x="5509839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8174078-4FA5-FC4D-9638-0EE6DD706364}"/>
              </a:ext>
            </a:extLst>
          </p:cNvPr>
          <p:cNvSpPr txBox="1"/>
          <p:nvPr userDrawn="1"/>
        </p:nvSpPr>
        <p:spPr>
          <a:xfrm>
            <a:off x="8114143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0804565-7374-C745-9825-D7F3EDD5EBE2}"/>
              </a:ext>
            </a:extLst>
          </p:cNvPr>
          <p:cNvSpPr txBox="1"/>
          <p:nvPr userDrawn="1"/>
        </p:nvSpPr>
        <p:spPr>
          <a:xfrm>
            <a:off x="2948940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FDE661D-D0B2-B64F-82BD-3D94F6023BB5}"/>
              </a:ext>
            </a:extLst>
          </p:cNvPr>
          <p:cNvSpPr txBox="1"/>
          <p:nvPr userDrawn="1"/>
        </p:nvSpPr>
        <p:spPr>
          <a:xfrm>
            <a:off x="327275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56A44A-5B27-6549-BCCB-9CA0EB7CB051}"/>
              </a:ext>
            </a:extLst>
          </p:cNvPr>
          <p:cNvSpPr txBox="1"/>
          <p:nvPr userDrawn="1"/>
        </p:nvSpPr>
        <p:spPr>
          <a:xfrm>
            <a:off x="5509839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2810E12-5685-324C-9255-BB0A7DCEB618}"/>
              </a:ext>
            </a:extLst>
          </p:cNvPr>
          <p:cNvSpPr txBox="1"/>
          <p:nvPr userDrawn="1"/>
        </p:nvSpPr>
        <p:spPr>
          <a:xfrm>
            <a:off x="8114143" y="5523073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  <p:sp>
        <p:nvSpPr>
          <p:cNvPr id="46" name="Picture Placeholder 15">
            <a:extLst>
              <a:ext uri="{FF2B5EF4-FFF2-40B4-BE49-F238E27FC236}">
                <a16:creationId xmlns:a16="http://schemas.microsoft.com/office/drawing/2014/main" id="{E391C987-2B98-F34D-A049-FF694B6832C1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51518" y="2286000"/>
            <a:ext cx="2514600" cy="18288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z="1200" dirty="0"/>
              <a:t>IMAGE PLACEHOLDER</a:t>
            </a:r>
            <a:endParaRPr lang="en-US" dirty="0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280CDE7-24B8-6748-8062-FD1716CE6A43}"/>
              </a:ext>
            </a:extLst>
          </p:cNvPr>
          <p:cNvSpPr txBox="1"/>
          <p:nvPr userDrawn="1"/>
        </p:nvSpPr>
        <p:spPr>
          <a:xfrm>
            <a:off x="341665" y="2733574"/>
            <a:ext cx="253746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0" i="0" dirty="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rPr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05711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7" orient="horz" pos="4368" userDrawn="1">
          <p15:clr>
            <a:srgbClr val="FBAE40"/>
          </p15:clr>
        </p15:guide>
        <p15:guide id="8" orient="horz" pos="4320" userDrawn="1">
          <p15:clr>
            <a:srgbClr val="FBAE40"/>
          </p15:clr>
        </p15:guide>
        <p15:guide id="9" pos="6876" userDrawn="1">
          <p15:clr>
            <a:srgbClr val="FBAE40"/>
          </p15:clr>
        </p15:guide>
        <p15:guide id="12" orient="horz" pos="2592" userDrawn="1">
          <p15:clr>
            <a:srgbClr val="FBAE40"/>
          </p15:clr>
        </p15:guide>
        <p15:guide id="13" orient="horz" pos="266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665664E-29A2-7D47-94A1-F271640173FB}"/>
              </a:ext>
            </a:extLst>
          </p:cNvPr>
          <p:cNvSpPr/>
          <p:nvPr userDrawn="1"/>
        </p:nvSpPr>
        <p:spPr>
          <a:xfrm>
            <a:off x="5486400" y="4114800"/>
            <a:ext cx="5486400" cy="41148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FFAF22CE-B3C3-1A44-BACC-978F7568C3F2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86400" y="4"/>
            <a:ext cx="5486400" cy="4138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C97673B-4571-B649-85C4-8A05A650B0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8" y="4739966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3C757C-0FF0-224D-AE08-0CD532ED3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78" y="2570453"/>
            <a:ext cx="5017804" cy="3657600"/>
          </a:xfrm>
          <a:prstGeom prst="rect">
            <a:avLst/>
          </a:prstGeom>
        </p:spPr>
        <p:txBody>
          <a:bodyPr/>
          <a:lstStyle>
            <a:lvl1pPr marL="214303" marR="0" indent="-214303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311438" indent="-151433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  <a:lvl3pPr marL="822878" indent="0">
              <a:buNone/>
              <a:defRPr sz="1260">
                <a:latin typeface="GT America" pitchFamily="2" charset="77"/>
              </a:defRPr>
            </a:lvl3pPr>
            <a:lvl4pPr marL="1234319" indent="0">
              <a:buNone/>
              <a:defRPr sz="1260">
                <a:latin typeface="GT America" pitchFamily="2" charset="77"/>
              </a:defRPr>
            </a:lvl4pPr>
            <a:lvl5pPr marL="1645756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.</a:t>
            </a:r>
          </a:p>
          <a:p>
            <a:pPr lvl="1"/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.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D1A27059-1E34-1346-B6C7-8FD979A24B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8BED4A0-5B15-EB47-A9FC-C5394EAB09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A0B9D8D-C7A3-8D49-B71E-6BEDF4B7DF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7F4307F-1CAD-C34F-8498-A81C733DA8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0" y="6659305"/>
            <a:ext cx="2837259" cy="218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566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orient="horz" pos="3168" userDrawn="1">
          <p15:clr>
            <a:srgbClr val="FBAE40"/>
          </p15:clr>
        </p15:guide>
        <p15:guide id="4" orient="horz" pos="4224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7DAD5AB0-3A28-2C40-94A3-9BE6620875FD}"/>
              </a:ext>
            </a:extLst>
          </p:cNvPr>
          <p:cNvSpPr/>
          <p:nvPr userDrawn="1"/>
        </p:nvSpPr>
        <p:spPr>
          <a:xfrm>
            <a:off x="5486400" y="4114799"/>
            <a:ext cx="5486400" cy="41148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6" name="Picture Placeholder 71">
            <a:extLst>
              <a:ext uri="{FF2B5EF4-FFF2-40B4-BE49-F238E27FC236}">
                <a16:creationId xmlns:a16="http://schemas.microsoft.com/office/drawing/2014/main" id="{A8C1BABD-5F95-8B4A-B334-C4CFA84E1A1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486400" y="4"/>
            <a:ext cx="5486400" cy="413813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A1BA74-FBAF-474A-B0D1-30863F6883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6E0FEB22-339C-7843-9A59-9B2765D2AEF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8312AB3-07CD-4F46-87E9-F6D4BA7AA7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9854D194-EFC1-E64E-B414-EFED2D365B7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31618" y="4739966"/>
            <a:ext cx="4594292" cy="1898042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marR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7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5432B7BB-EDE4-3649-8508-9CF17E729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4980" y="2570457"/>
            <a:ext cx="4162723" cy="4744747"/>
          </a:xfrm>
          <a:prstGeom prst="rect">
            <a:avLst/>
          </a:prstGeom>
        </p:spPr>
        <p:txBody>
          <a:bodyPr/>
          <a:lstStyle>
            <a:lvl1pPr marL="214303" marR="0" indent="-214303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311438" indent="-151433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2pPr>
            <a:lvl3pPr marL="822878" indent="0">
              <a:buNone/>
              <a:defRPr sz="1260">
                <a:latin typeface="GT America" pitchFamily="2" charset="77"/>
              </a:defRPr>
            </a:lvl3pPr>
            <a:lvl4pPr marL="1234319" indent="0">
              <a:buNone/>
              <a:defRPr sz="1260">
                <a:latin typeface="GT America" pitchFamily="2" charset="77"/>
              </a:defRPr>
            </a:lvl4pPr>
            <a:lvl5pPr marL="1645756" indent="0">
              <a:buNone/>
              <a:defRPr sz="1260">
                <a:latin typeface="GT America" pitchFamily="2" charset="77"/>
              </a:defRPr>
            </a:lvl5pPr>
          </a:lstStyle>
          <a:p>
            <a:pPr lvl="0"/>
            <a:r>
              <a:rPr lang="en-US" dirty="0"/>
              <a:t>Type Style 1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rm que.</a:t>
            </a:r>
          </a:p>
          <a:p>
            <a:pPr lvl="1"/>
            <a:r>
              <a:rPr lang="en-US" dirty="0"/>
              <a:t>Type Style 2: </a:t>
            </a:r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.</a:t>
            </a:r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CC00F7A1-A9C5-E441-82AF-C1C8F645D7C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24610" y="6659305"/>
            <a:ext cx="2837259" cy="2189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4775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F1B7ED3-6B19-954B-A4E1-DE64D8A79994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44283" y="30701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8.5bn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19BDDCDB-D517-FD4B-8E5B-E4A3107F7729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AEABD1-DAEF-9F40-81E8-852E00DE461B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2EE4034-E1C7-7246-BA8C-5B5F427B732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71972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5996FD47-10E5-F947-A4C3-040AA004CF0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92002B-F90E-E84E-BDA2-66BF0D5E016F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4470"/>
            <a:ext cx="2634680" cy="3750732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79564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304" userDrawn="1">
          <p15:clr>
            <a:srgbClr val="FBAE40"/>
          </p15:clr>
        </p15:guide>
        <p15:guide id="4" orient="horz" pos="3264" userDrawn="1">
          <p15:clr>
            <a:srgbClr val="FBAE40"/>
          </p15:clr>
        </p15:guide>
        <p15:guide id="5" orient="horz" pos="4536" userDrawn="1">
          <p15:clr>
            <a:srgbClr val="FBAE40"/>
          </p15:clr>
        </p15:guide>
        <p15:guide id="8" orient="horz" pos="2592" userDrawn="1">
          <p15:clr>
            <a:srgbClr val="FBAE40"/>
          </p15:clr>
        </p15:guide>
        <p15:guide id="9" orient="horz" pos="1896" userDrawn="1">
          <p15:clr>
            <a:srgbClr val="FBAE40"/>
          </p15:clr>
        </p15:guide>
        <p15:guide id="10" orient="horz" pos="172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5D38AB2D-B406-FF4B-BF0F-083823599F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Footer Placeholder 3">
            <a:extLst>
              <a:ext uri="{FF2B5EF4-FFF2-40B4-BE49-F238E27FC236}">
                <a16:creationId xmlns:a16="http://schemas.microsoft.com/office/drawing/2014/main" id="{F8B370F0-3B52-6149-82EB-A212DA08E7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81B99F6-04F9-D143-91F5-58FFD93642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E75B37E-2995-DA45-96DB-2E749ECFB873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80C58EB2-5C0C-EF4F-9EDE-FE88CABE6E27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0D13308-388E-B540-AA97-7043001F231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057F9DC6-0F74-B443-9FA8-54EDD4D9A2A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5542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7D4ACFCC-1045-4949-BEE9-4720F6600E5D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DC8021D3-26ED-BE41-8ACF-523C581EEA06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0EDEEFC5-5AEC-D343-BC64-A20DF26168FD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2EBAE028-A2DC-FE47-BF1B-7F1EE102399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15444EA-5BE2-3A43-8A37-8ECD679B669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 Placeholder 12">
            <a:extLst>
              <a:ext uri="{FF2B5EF4-FFF2-40B4-BE49-F238E27FC236}">
                <a16:creationId xmlns:a16="http://schemas.microsoft.com/office/drawing/2014/main" id="{549645D7-2239-E34E-977B-8B0EB55B7D5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5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343398B6-2A74-6F4A-8075-5D10728268B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71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8" name="Text Placeholder 12">
            <a:extLst>
              <a:ext uri="{FF2B5EF4-FFF2-40B4-BE49-F238E27FC236}">
                <a16:creationId xmlns:a16="http://schemas.microsoft.com/office/drawing/2014/main" id="{303D567E-6E90-744C-B2A0-D643E0F6379C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452111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4DB436AF-4BF3-EC47-8D2C-8AF9147E08C7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38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7A9F7746-7522-DD44-83E8-BE7A0F4CFA3B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EE26970-DA91-D24A-B24E-9DADEFA332A7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2"/>
            <a:ext cx="2634680" cy="3730752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66604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 userDrawn="1">
          <p15:clr>
            <a:srgbClr val="FBAE40"/>
          </p15:clr>
        </p15:guide>
        <p15:guide id="2" orient="horz" pos="3264" userDrawn="1">
          <p15:clr>
            <a:srgbClr val="FBAE40"/>
          </p15:clr>
        </p15:guide>
        <p15:guide id="3" orient="horz" pos="4536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A665877-4334-864C-9D33-4C963E2EB9A6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1FD0ECCA-7FBF-EC45-80FA-79AEE8526DB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98010" y="33125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ACC7B9EA-F978-A348-9397-F545378C0FE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3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792D6B90-E22B-B54F-AB02-2FE60B59EE9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182505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B242A32C-70DA-3541-86E4-DEB88241A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7A176CA7-E579-424E-9650-7B467D40A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BA2D8BF-E617-1240-ADA0-BE5CB0E8E3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7ECE185B-F547-894B-BA13-E24374A0F87B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D6756D6F-CB84-2843-AB66-8CB231DB23F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5382E83-076B-4D41-B816-E9739B0FEF6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9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1B34D03-1108-114D-9626-7F3D9985BA2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830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360B174F-49F1-DE43-8BF9-56D0BA220C0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34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CDAA985-C7B7-6F44-AD22-64271D1B3E7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159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4EABDBAC-4361-8D4E-BFE1-06CA51AE90E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830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DC8F02FE-06F8-1049-A01C-F444135B2E2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9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A9ABE5EE-89CE-0346-868E-F3A335C3F3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A4278D69-396D-6445-A156-2E8A2EC75A4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128582" marR="0" indent="-128582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1730EFD7-C2C5-1748-B34C-EFA109D4819B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964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728" userDrawn="1">
          <p15:clr>
            <a:srgbClr val="FBAE40"/>
          </p15:clr>
        </p15:guide>
        <p15:guide id="6" orient="horz" pos="2208" userDrawn="1">
          <p15:clr>
            <a:srgbClr val="FBAE40"/>
          </p15:clr>
        </p15:guide>
        <p15:guide id="7" orient="horz" pos="3264" userDrawn="1">
          <p15:clr>
            <a:srgbClr val="FBAE40"/>
          </p15:clr>
        </p15:guide>
        <p15:guide id="8" orient="horz" pos="3456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0AC17228-FDCA-4041-9A54-ADC0FEE9C55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10972800" cy="8229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lace image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A8504AF-9EF1-5449-88C1-29BE7D24B7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A4783DF6-41E2-4D4B-BAFD-D284B0B5CA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90970C6-B662-AE44-B459-54AABA9B3C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770E5FF6-7D6B-7947-886D-08B5315828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3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16B6CA-AD7F-CD4D-A695-CC8B343A3E8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3" y="3397650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u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4107351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 userDrawn="1">
          <p15:clr>
            <a:srgbClr val="FBAE40"/>
          </p15:clr>
        </p15:guide>
        <p15:guide id="2" orient="horz" pos="2184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>
            <a:extLst>
              <a:ext uri="{FF2B5EF4-FFF2-40B4-BE49-F238E27FC236}">
                <a16:creationId xmlns:a16="http://schemas.microsoft.com/office/drawing/2014/main" id="{0403E054-70E9-7E45-B65A-CB417AF6B088}"/>
              </a:ext>
            </a:extLst>
          </p:cNvPr>
          <p:cNvSpPr>
            <a:spLocks noGrp="1"/>
          </p:cNvSpPr>
          <p:nvPr>
            <p:ph type="chart" sz="quarter" idx="53"/>
          </p:nvPr>
        </p:nvSpPr>
        <p:spPr>
          <a:xfrm>
            <a:off x="5486401" y="1817370"/>
            <a:ext cx="5246484" cy="5497830"/>
          </a:xfrm>
          <a:prstGeom prst="rect">
            <a:avLst/>
          </a:prstGeom>
        </p:spPr>
        <p:txBody>
          <a:bodyPr/>
          <a:lstStyle>
            <a:lvl1pPr>
              <a:defRPr sz="60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96A91FC-055C-7A44-8AD4-5530B82A27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D2E14EE6-88ED-824E-926A-F12F0DF35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C2B36D71-9C76-8443-926C-09D9F3B83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2EF3EAB3-F5C8-2B46-A853-E9AE626EDC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42E972-57AB-2143-AB8E-FBDCCF5852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82179" y="4257554"/>
            <a:ext cx="2486901" cy="3057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439E6D7-7242-774B-B1AC-9AB4CB9957A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77756" y="398860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D589E4F8-A981-E747-A67E-C2EEC2271DD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2877803" y="4257554"/>
            <a:ext cx="2486901" cy="305765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200"/>
              </a:lnSpc>
              <a:spcBef>
                <a:spcPts val="0"/>
              </a:spcBef>
              <a:buNone/>
              <a:defRPr lang="en-US" sz="900" b="0" i="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u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ol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nt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esse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per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ati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ri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delitat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c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d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l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ige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os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or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b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sti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h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re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i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dand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m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idu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orep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ae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ic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mquat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or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onse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oles ips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lorend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pror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omnia pa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nd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l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e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ideb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cup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uptaqu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busa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9781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84" userDrawn="1">
          <p15:clr>
            <a:srgbClr val="FBAE40"/>
          </p15:clr>
        </p15:guide>
        <p15:guide id="2" pos="6066" userDrawn="1">
          <p15:clr>
            <a:srgbClr val="FBAE40"/>
          </p15:clr>
        </p15:guide>
        <p15:guide id="3" orient="horz" pos="115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C0B67F8-4B23-4242-B45B-74CFFAD9C9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17147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002677"/>
                </a:solidFill>
                <a:latin typeface="IBM Plex Sans Light" panose="020B0403050000000000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BD905AF-340E-BB48-968E-98622EF3A8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B3C1B4ED-375C-F840-82BA-0FEF778EC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BB234D2-4E19-174B-B5CE-5A78159B4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BD589BE-546F-9544-BEC8-7CB3EF705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178332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6129327" cy="4419591"/>
          </a:xfrm>
          <a:prstGeom prst="rect">
            <a:avLst/>
          </a:prstGeom>
        </p:spPr>
        <p:txBody>
          <a:bodyPr/>
          <a:lstStyle>
            <a:lvl1pPr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1B22384-DF50-5345-8A18-D597B10BBAA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20684" y="5952700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14,890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075D076-EDAE-D842-A7DA-A38169906A2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35589" y="5205422"/>
            <a:ext cx="1408339" cy="3000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F0016F-BC3A-9F45-9A7C-DAD9D6B7CE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135589" y="6524757"/>
            <a:ext cx="1408339" cy="30008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386303E-980F-0D4F-8909-084E1AD5AEC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135589" y="3668908"/>
            <a:ext cx="1408339" cy="27899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900" b="0" i="0">
                <a:solidFill>
                  <a:srgbClr val="75787B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OTA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B813071-AF69-734D-AC8C-78856B98881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120684" y="4636804"/>
            <a:ext cx="1665511" cy="5268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6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11,377</a:t>
            </a:r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05767" y="2745303"/>
            <a:ext cx="3374464" cy="847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86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37,540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5" name="Chart Placeholder 23">
            <a:extLst>
              <a:ext uri="{FF2B5EF4-FFF2-40B4-BE49-F238E27FC236}">
                <a16:creationId xmlns:a16="http://schemas.microsoft.com/office/drawing/2014/main" id="{D257CB94-FEC5-014F-8EFE-1ECC6EBF358A}"/>
              </a:ext>
            </a:extLst>
          </p:cNvPr>
          <p:cNvSpPr>
            <a:spLocks noGrp="1"/>
          </p:cNvSpPr>
          <p:nvPr>
            <p:ph type="chart" sz="quarter" idx="34"/>
          </p:nvPr>
        </p:nvSpPr>
        <p:spPr>
          <a:xfrm>
            <a:off x="8858252" y="5791201"/>
            <a:ext cx="885825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Chart Placeholder 23">
            <a:extLst>
              <a:ext uri="{FF2B5EF4-FFF2-40B4-BE49-F238E27FC236}">
                <a16:creationId xmlns:a16="http://schemas.microsoft.com/office/drawing/2014/main" id="{EFB9E721-3106-5B44-9C3D-2A07F980F882}"/>
              </a:ext>
            </a:extLst>
          </p:cNvPr>
          <p:cNvSpPr>
            <a:spLocks noGrp="1"/>
          </p:cNvSpPr>
          <p:nvPr>
            <p:ph type="chart" sz="quarter" idx="35"/>
          </p:nvPr>
        </p:nvSpPr>
        <p:spPr>
          <a:xfrm>
            <a:off x="8858252" y="4470401"/>
            <a:ext cx="885825" cy="7239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7088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6" orient="horz" pos="2256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  <p15:guide id="8" orient="horz" pos="3216" userDrawn="1">
          <p15:clr>
            <a:srgbClr val="FBAE40"/>
          </p15:clr>
        </p15:guide>
        <p15:guide id="9" orient="horz" pos="3648" userDrawn="1">
          <p15:clr>
            <a:srgbClr val="FBAE40"/>
          </p15:clr>
        </p15:guide>
        <p15:guide id="10" orient="horz" pos="4632" userDrawn="1">
          <p15:clr>
            <a:srgbClr val="FBAE40"/>
          </p15:clr>
        </p15:guide>
        <p15:guide id="11" pos="4014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3188A0B2-727D-DB45-BE28-D450D99DC7F6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6129327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 Placeholder 21">
            <a:extLst>
              <a:ext uri="{FF2B5EF4-FFF2-40B4-BE49-F238E27FC236}">
                <a16:creationId xmlns:a16="http://schemas.microsoft.com/office/drawing/2014/main" id="{38818D2B-DC12-D949-BB0A-571C837C00B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35586" y="2745303"/>
            <a:ext cx="2608491" cy="4569893"/>
          </a:xfrm>
          <a:prstGeom prst="rect">
            <a:avLst/>
          </a:prstGeom>
        </p:spPr>
        <p:txBody>
          <a:bodyPr>
            <a:noAutofit/>
          </a:bodyPr>
          <a:lstStyle>
            <a:lvl1pPr marL="128582" indent="-128582">
              <a:buFont typeface="Courier New" panose="02070309020205020404" pitchFamily="49" charset="0"/>
              <a:buChar char="o"/>
              <a:defRPr sz="900" b="0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Maecenas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massa</a:t>
            </a:r>
            <a:r>
              <a:rPr lang="en-US" dirty="0"/>
              <a:t>. </a:t>
            </a:r>
            <a:r>
              <a:rPr lang="en-US" dirty="0" err="1"/>
              <a:t>Fusce</a:t>
            </a:r>
            <a:r>
              <a:rPr lang="en-US" dirty="0"/>
              <a:t> </a:t>
            </a:r>
            <a:r>
              <a:rPr lang="en-US" dirty="0" err="1"/>
              <a:t>posuere</a:t>
            </a:r>
            <a:r>
              <a:rPr lang="en-US" dirty="0"/>
              <a:t>, magna sed pulvinar </a:t>
            </a:r>
            <a:r>
              <a:rPr lang="en-US" dirty="0" err="1"/>
              <a:t>ultricies</a:t>
            </a:r>
            <a:r>
              <a:rPr lang="en-US" dirty="0"/>
              <a:t>,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lectus</a:t>
            </a:r>
            <a:r>
              <a:rPr lang="en-US" dirty="0"/>
              <a:t> </a:t>
            </a:r>
            <a:r>
              <a:rPr lang="en-US" dirty="0" err="1"/>
              <a:t>malesuada</a:t>
            </a:r>
            <a:r>
              <a:rPr lang="en-US" dirty="0"/>
              <a:t> libero,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magna </a:t>
            </a:r>
            <a:r>
              <a:rPr lang="en-US" dirty="0" err="1"/>
              <a:t>eros</a:t>
            </a:r>
            <a:r>
              <a:rPr lang="en-US" dirty="0"/>
              <a:t>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.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652542E0-4BEB-174A-A60D-B7367FBC3B5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5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7CD62D6-F7AA-9842-94A0-6229265B69A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58196F80-1B84-D94F-95EA-2E7331FD7B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57402A2C-11D0-1E45-804A-E0432354AB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5A192919-FC4A-CE40-982B-20F517D89A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B2F12B48-C80C-BD44-9BCC-7FAC37F90B5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43212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20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6" orient="horz" pos="2256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  <p15:guide id="8" orient="horz" pos="3216" userDrawn="1">
          <p15:clr>
            <a:srgbClr val="FBAE40"/>
          </p15:clr>
        </p15:guide>
        <p15:guide id="9" orient="horz" pos="3648" userDrawn="1">
          <p15:clr>
            <a:srgbClr val="FBAE40"/>
          </p15:clr>
        </p15:guide>
        <p15:guide id="11" pos="4014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EBEDAD8-3D5D-524A-ABF1-1F33649C1DD7}"/>
              </a:ext>
            </a:extLst>
          </p:cNvPr>
          <p:cNvCxnSpPr>
            <a:cxnSpLocks/>
          </p:cNvCxnSpPr>
          <p:nvPr userDrawn="1"/>
        </p:nvCxnSpPr>
        <p:spPr>
          <a:xfrm>
            <a:off x="7858125" y="4800600"/>
            <a:ext cx="0" cy="240030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12">
            <a:extLst>
              <a:ext uri="{FF2B5EF4-FFF2-40B4-BE49-F238E27FC236}">
                <a16:creationId xmlns:a16="http://schemas.microsoft.com/office/drawing/2014/main" id="{9C208172-2688-0F4A-8371-5D61670DD4C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17562" y="27399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51.7 bn</a:t>
            </a:r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97F4432D-BDD8-1747-9342-9A11C3CD80F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00634" y="55579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.5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6CE8F43F-5F05-C341-8A75-96239B63AE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360C1D3E-0E57-EF49-BF9E-759123DC5A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BE1E304-119C-AF40-9246-46DEC6B19F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32DF9CEB-18F6-DB42-B2CA-14C36DB5FE06}"/>
              </a:ext>
            </a:extLst>
          </p:cNvPr>
          <p:cNvCxnSpPr>
            <a:cxnSpLocks/>
          </p:cNvCxnSpPr>
          <p:nvPr userDrawn="1"/>
        </p:nvCxnSpPr>
        <p:spPr>
          <a:xfrm>
            <a:off x="5544285" y="45720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B7576C6E-FF6E-3D4B-8B55-82FEDA61BDE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50" name="Text Placeholder 12">
            <a:extLst>
              <a:ext uri="{FF2B5EF4-FFF2-40B4-BE49-F238E27FC236}">
                <a16:creationId xmlns:a16="http://schemas.microsoft.com/office/drawing/2014/main" id="{9143D27B-06AD-0B47-B945-865E56B6654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5579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2.6</a:t>
            </a:r>
          </a:p>
        </p:txBody>
      </p:sp>
      <p:sp>
        <p:nvSpPr>
          <p:cNvPr id="18" name="Chart Placeholder 10">
            <a:extLst>
              <a:ext uri="{FF2B5EF4-FFF2-40B4-BE49-F238E27FC236}">
                <a16:creationId xmlns:a16="http://schemas.microsoft.com/office/drawing/2014/main" id="{B0131088-638E-2A44-A74D-2900B64C7C2E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242900" y="2895607"/>
            <a:ext cx="5173327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CF9FCC29-F0D0-304E-995F-33163D18DA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476875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824548-903C-7046-A2B1-1A4A470F218F}"/>
              </a:ext>
            </a:extLst>
          </p:cNvPr>
          <p:cNvCxnSpPr>
            <a:cxnSpLocks/>
          </p:cNvCxnSpPr>
          <p:nvPr userDrawn="1"/>
        </p:nvCxnSpPr>
        <p:spPr>
          <a:xfrm>
            <a:off x="342900" y="2097335"/>
            <a:ext cx="1028700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F0C05ED0-6CED-5A4C-9B70-32FAD61E63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77587" y="2229452"/>
            <a:ext cx="3878650" cy="3356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722D13D-811D-A945-892A-F29F13F57102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4743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544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880" userDrawn="1">
          <p15:clr>
            <a:srgbClr val="FBAE40"/>
          </p15:clr>
        </p15:guide>
        <p15:guide id="4" orient="horz" pos="3024" userDrawn="1">
          <p15:clr>
            <a:srgbClr val="FBAE40"/>
          </p15:clr>
        </p15:guide>
        <p15:guide id="5" orient="horz" pos="4536" userDrawn="1">
          <p15:clr>
            <a:srgbClr val="FBAE40"/>
          </p15:clr>
        </p15:guide>
        <p15:guide id="8" orient="horz" pos="1440" userDrawn="1">
          <p15:clr>
            <a:srgbClr val="FBAE40"/>
          </p15:clr>
        </p15:guide>
        <p15:guide id="9" orient="horz" pos="1872" userDrawn="1">
          <p15:clr>
            <a:srgbClr val="FBAE40"/>
          </p15:clr>
        </p15:guide>
        <p15:guide id="11" orient="horz" pos="3600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1810AD1-3CD3-3248-98AD-7E0A36814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14E05EF-B2AD-7249-B549-5A1DF77EC3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4AE03481-D227-7A4C-9313-AFFC89DFC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BB0F561-93A6-E74A-AF14-BA82FA3B712A}"/>
              </a:ext>
            </a:extLst>
          </p:cNvPr>
          <p:cNvCxnSpPr>
            <a:cxnSpLocks/>
          </p:cNvCxnSpPr>
          <p:nvPr userDrawn="1"/>
        </p:nvCxnSpPr>
        <p:spPr>
          <a:xfrm>
            <a:off x="342902" y="2133600"/>
            <a:ext cx="4714875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5A5AEB9-0B74-4046-A12A-98536C351C5E}"/>
              </a:ext>
            </a:extLst>
          </p:cNvPr>
          <p:cNvCxnSpPr>
            <a:cxnSpLocks/>
          </p:cNvCxnSpPr>
          <p:nvPr userDrawn="1"/>
        </p:nvCxnSpPr>
        <p:spPr>
          <a:xfrm>
            <a:off x="5886450" y="2133600"/>
            <a:ext cx="4743450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AB9E514-F681-3B43-AAF7-A03BC614DCD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3101E2A-2185-A945-BAC8-2CC31125EEA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818402" y="22292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8" name="Chart Placeholder 10">
            <a:extLst>
              <a:ext uri="{FF2B5EF4-FFF2-40B4-BE49-F238E27FC236}">
                <a16:creationId xmlns:a16="http://schemas.microsoft.com/office/drawing/2014/main" id="{991788D2-6434-124D-B338-6C9E13395A8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0" y="2895607"/>
            <a:ext cx="4714876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1" name="Chart Placeholder 10">
            <a:extLst>
              <a:ext uri="{FF2B5EF4-FFF2-40B4-BE49-F238E27FC236}">
                <a16:creationId xmlns:a16="http://schemas.microsoft.com/office/drawing/2014/main" id="{D0FFE140-821E-364E-B597-19750F5E80F6}"/>
              </a:ext>
            </a:extLst>
          </p:cNvPr>
          <p:cNvSpPr>
            <a:spLocks noGrp="1"/>
          </p:cNvSpPr>
          <p:nvPr>
            <p:ph type="chart" sz="quarter" idx="55"/>
          </p:nvPr>
        </p:nvSpPr>
        <p:spPr>
          <a:xfrm>
            <a:off x="5905500" y="2895607"/>
            <a:ext cx="4714876" cy="4419591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761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86" userDrawn="1">
          <p15:clr>
            <a:srgbClr val="FBAE40"/>
          </p15:clr>
        </p15:guide>
        <p15:guide id="3" orient="horz" pos="1344" userDrawn="1">
          <p15:clr>
            <a:srgbClr val="FBAE40"/>
          </p15:clr>
        </p15:guide>
        <p15:guide id="4" orient="horz" pos="144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hart Placeholder 10">
            <a:extLst>
              <a:ext uri="{FF2B5EF4-FFF2-40B4-BE49-F238E27FC236}">
                <a16:creationId xmlns:a16="http://schemas.microsoft.com/office/drawing/2014/main" id="{297EF4DF-EEA0-C14B-8C81-FADDCFF31A89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342902" y="2524601"/>
            <a:ext cx="4840725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0CF763CC-227B-2947-8AD7-669576A57A88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5537424" y="2524606"/>
            <a:ext cx="5199458" cy="4790599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2F8EC12-2E52-1D4E-8CAB-CA9D7AF178EA}"/>
              </a:ext>
            </a:extLst>
          </p:cNvPr>
          <p:cNvCxnSpPr>
            <a:cxnSpLocks/>
          </p:cNvCxnSpPr>
          <p:nvPr userDrawn="1"/>
        </p:nvCxnSpPr>
        <p:spPr>
          <a:xfrm>
            <a:off x="342902" y="4800629"/>
            <a:ext cx="5000625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C4067C59-E355-0F45-815B-04000CC0FE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8584F696-EB57-EF4F-B9BE-DD73C51489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7CC34BF5-5F1D-1B41-9DCE-569056C367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71B65A7-0666-1843-B6A6-10F76FE172DD}"/>
              </a:ext>
            </a:extLst>
          </p:cNvPr>
          <p:cNvCxnSpPr>
            <a:cxnSpLocks/>
          </p:cNvCxnSpPr>
          <p:nvPr userDrawn="1"/>
        </p:nvCxnSpPr>
        <p:spPr>
          <a:xfrm>
            <a:off x="342901" y="2133600"/>
            <a:ext cx="507332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DBD27E2-5C7A-5D49-A7D0-E7D58B4C7272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133600"/>
            <a:ext cx="5085616" cy="0"/>
          </a:xfrm>
          <a:prstGeom prst="line">
            <a:avLst/>
          </a:prstGeom>
          <a:ln>
            <a:solidFill>
              <a:srgbClr val="00267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B407B9A0-A159-EC4C-B00A-C605D0C8CF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538647" y="2225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AA00FF57-B8E8-E147-ABBA-985C8D7BD69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280847" y="2225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26" name="Chart Placeholder 10">
            <a:extLst>
              <a:ext uri="{FF2B5EF4-FFF2-40B4-BE49-F238E27FC236}">
                <a16:creationId xmlns:a16="http://schemas.microsoft.com/office/drawing/2014/main" id="{EDF3F533-F9BE-974D-9C5E-80E488BA2A49}"/>
              </a:ext>
            </a:extLst>
          </p:cNvPr>
          <p:cNvSpPr>
            <a:spLocks noGrp="1"/>
          </p:cNvSpPr>
          <p:nvPr>
            <p:ph type="chart" sz="quarter" idx="63"/>
          </p:nvPr>
        </p:nvSpPr>
        <p:spPr>
          <a:xfrm>
            <a:off x="342902" y="5191601"/>
            <a:ext cx="4840725" cy="212140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D5F5424-E1F2-3C47-948D-7F84DFAD3AE3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0847" y="48920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808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  <p15:guide id="2" orient="horz" pos="2952" userDrawn="1">
          <p15:clr>
            <a:srgbClr val="FBAE40"/>
          </p15:clr>
        </p15:guide>
        <p15:guide id="3" orient="horz" pos="1584" userDrawn="1">
          <p15:clr>
            <a:srgbClr val="FBAE40"/>
          </p15:clr>
        </p15:guide>
        <p15:guide id="4" orient="horz" pos="3264" userDrawn="1">
          <p15:clr>
            <a:srgbClr val="FBAE40"/>
          </p15:clr>
        </p15:guide>
        <p15:guide id="5" pos="3258" userDrawn="1">
          <p15:clr>
            <a:srgbClr val="FBAE40"/>
          </p15:clr>
        </p15:guide>
        <p15:guide id="7" pos="67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lide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10">
            <a:extLst>
              <a:ext uri="{FF2B5EF4-FFF2-40B4-BE49-F238E27FC236}">
                <a16:creationId xmlns:a16="http://schemas.microsoft.com/office/drawing/2014/main" id="{4FD1F37D-CDDB-0F40-8024-6FE332325720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42900" y="1600200"/>
            <a:ext cx="9886950" cy="57531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9B492A2-E489-124B-8590-6C0A7F3E01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6EEC542-18BA-B24E-807C-41CBBF20EE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79F894B-1FED-1245-97AE-8AB3F133AB9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187417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64" userDrawn="1">
          <p15:clr>
            <a:srgbClr val="FBAE40"/>
          </p15:clr>
        </p15:guide>
        <p15:guide id="2" orient="horz" pos="100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15">
            <a:extLst>
              <a:ext uri="{FF2B5EF4-FFF2-40B4-BE49-F238E27FC236}">
                <a16:creationId xmlns:a16="http://schemas.microsoft.com/office/drawing/2014/main" id="{70330F66-71DD-C040-9AEE-D6C10A76785F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342900" y="2286000"/>
            <a:ext cx="10287000" cy="4610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C53B2-5349-1947-8C1E-E58DFF586A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3F88C7F-CC0C-0D45-A8CC-A87557038F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CEE5879-8659-2C46-8C0E-6E341E7CC11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1162493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76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  <p15:guide id="3" orient="horz" pos="4344" userDrawn="1">
          <p15:clr>
            <a:srgbClr val="FBAE40"/>
          </p15:clr>
        </p15:guide>
        <p15:guide id="4" pos="6822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>
            <a:extLst>
              <a:ext uri="{FF2B5EF4-FFF2-40B4-BE49-F238E27FC236}">
                <a16:creationId xmlns:a16="http://schemas.microsoft.com/office/drawing/2014/main" id="{B4104D62-73E6-5B42-BD35-00CF80AE50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1526" y="1549400"/>
            <a:ext cx="8327135" cy="624535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0" name="Text Placeholder 14">
            <a:extLst>
              <a:ext uri="{FF2B5EF4-FFF2-40B4-BE49-F238E27FC236}">
                <a16:creationId xmlns:a16="http://schemas.microsoft.com/office/drawing/2014/main" id="{51329D8A-67D3-DA48-AE3F-2E65C6CEB0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4015" y="382368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1" name="Text Placeholder 14">
            <a:extLst>
              <a:ext uri="{FF2B5EF4-FFF2-40B4-BE49-F238E27FC236}">
                <a16:creationId xmlns:a16="http://schemas.microsoft.com/office/drawing/2014/main" id="{94CF4528-465A-B44E-AA97-0546ACEC53B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57003" y="382368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7" name="Text Placeholder 14">
            <a:extLst>
              <a:ext uri="{FF2B5EF4-FFF2-40B4-BE49-F238E27FC236}">
                <a16:creationId xmlns:a16="http://schemas.microsoft.com/office/drawing/2014/main" id="{76DCCC1C-1103-CD46-9BD1-BD2B7DC0B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84198" y="5923057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58" name="Text Placeholder 14">
            <a:extLst>
              <a:ext uri="{FF2B5EF4-FFF2-40B4-BE49-F238E27FC236}">
                <a16:creationId xmlns:a16="http://schemas.microsoft.com/office/drawing/2014/main" id="{C2AC456B-3A6A-194A-B655-9BEBD5781A7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27186" y="5923057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9" name="Text Placeholder 14">
            <a:extLst>
              <a:ext uri="{FF2B5EF4-FFF2-40B4-BE49-F238E27FC236}">
                <a16:creationId xmlns:a16="http://schemas.microsoft.com/office/drawing/2014/main" id="{C489074A-EA72-8747-B5E6-F943B421983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83184" y="4263200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0" name="Text Placeholder 14">
            <a:extLst>
              <a:ext uri="{FF2B5EF4-FFF2-40B4-BE49-F238E27FC236}">
                <a16:creationId xmlns:a16="http://schemas.microsoft.com/office/drawing/2014/main" id="{C717E74A-F4BB-F543-878B-EFFCC950D61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126172" y="4263200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1" name="Text Placeholder 14">
            <a:extLst>
              <a:ext uri="{FF2B5EF4-FFF2-40B4-BE49-F238E27FC236}">
                <a16:creationId xmlns:a16="http://schemas.microsoft.com/office/drawing/2014/main" id="{4446F7A9-B883-6C45-8B65-1AB08F48BF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387294" y="5905448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62" name="Text Placeholder 14">
            <a:extLst>
              <a:ext uri="{FF2B5EF4-FFF2-40B4-BE49-F238E27FC236}">
                <a16:creationId xmlns:a16="http://schemas.microsoft.com/office/drawing/2014/main" id="{1ED9D119-EA92-2040-808F-0BF5119B40C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0282" y="5905448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72139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692" userDrawn="1">
          <p15:clr>
            <a:srgbClr val="FBAE40"/>
          </p15:clr>
        </p15:guide>
        <p15:guide id="5" pos="1620" userDrawn="1">
          <p15:clr>
            <a:srgbClr val="FBAE40"/>
          </p15:clr>
        </p15:guide>
        <p15:guide id="6" orient="horz" pos="1032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4D4C399B-3FBF-054B-8D28-B5E6D783C4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980" y="1450244"/>
            <a:ext cx="8757666" cy="656825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08FFC3C-2E13-9147-90DD-C60D05990E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19491" y="7612690"/>
            <a:ext cx="277554" cy="174679"/>
          </a:xfr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81E05A-1ADC-4F4C-8A3D-CAE77F0BE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09879" y="7615599"/>
            <a:ext cx="3703320" cy="218918"/>
          </a:xfr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050943-1744-4C44-A0B5-C02A1454D8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993E778B-ECC0-134B-87AC-D2B442A710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6910" y="38576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en-US" sz="1350" b="1" i="0" dirty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Title He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0E88AA6E-E383-4D47-AA7A-D58DBAD68A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413" y="38576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3726C250-E818-6C4A-8840-F45CD72DCC4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1760" y="60547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6F61BBF6-510D-884F-98C3-11B80AF72E1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61263" y="60547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3D512553-3B7E-574B-BF8F-64364FF8E9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34941" y="59531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AB7CB3EF-698A-0444-851E-DCED8E0B636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84444" y="59531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45" name="Text Placeholder 14">
            <a:extLst>
              <a:ext uri="{FF2B5EF4-FFF2-40B4-BE49-F238E27FC236}">
                <a16:creationId xmlns:a16="http://schemas.microsoft.com/office/drawing/2014/main" id="{EA9C0B7B-B9D8-C444-9C94-17EE39A2487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50579" y="42894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46" name="Text Placeholder 14">
            <a:extLst>
              <a:ext uri="{FF2B5EF4-FFF2-40B4-BE49-F238E27FC236}">
                <a16:creationId xmlns:a16="http://schemas.microsoft.com/office/drawing/2014/main" id="{926480A5-4ACF-7440-95FF-F63734BD7CE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0082" y="4289425"/>
            <a:ext cx="535340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35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279759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1272" userDrawn="1">
          <p15:clr>
            <a:srgbClr val="FBAE40"/>
          </p15:clr>
        </p15:guide>
        <p15:guide id="3" orient="horz" pos="2592" userDrawn="1">
          <p15:clr>
            <a:srgbClr val="FBAE40"/>
          </p15:clr>
        </p15:guide>
        <p15:guide id="4" orient="horz" pos="3888" userDrawn="1">
          <p15:clr>
            <a:srgbClr val="FBAE40"/>
          </p15:clr>
        </p15:guide>
        <p15:guide id="5" pos="846" userDrawn="1">
          <p15:clr>
            <a:srgbClr val="FBAE40"/>
          </p15:clr>
        </p15:guide>
        <p15:guide id="6" pos="5778" userDrawn="1">
          <p15:clr>
            <a:srgbClr val="FBAE40"/>
          </p15:clr>
        </p15:guide>
        <p15:guide id="7" orient="horz" pos="2832" userDrawn="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EQB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C539E5ED-6D1D-1F46-B752-48310B75AD3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6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lnSpc>
                <a:spcPct val="85000"/>
              </a:lnSpc>
              <a:buNone/>
              <a:defRPr sz="600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 Her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249FBCE-25EE-AD47-9D91-00BEACCB35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7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CDB95BF2-7A5F-EF44-9BA4-C0BF16711D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5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</p:spTree>
    <p:extLst>
      <p:ext uri="{BB962C8B-B14F-4D97-AF65-F5344CB8AC3E}">
        <p14:creationId xmlns:p14="http://schemas.microsoft.com/office/powerpoint/2010/main" val="39300182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1960E23-FBD9-6647-A373-98A4444F63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DD267E6-E00F-9346-9BAF-BD7F2E16D8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D72741-C454-5D4C-91E8-8E2E5FD06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553DADC-9F0C-9344-A677-AAF158AEC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593304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3E93E3C-8850-C746-8B80-26AB503292F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4051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Section Title Her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65FD2F7-360C-EB48-9E5E-E9E9C1CEAA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5DB8C44D-A4C4-424F-B506-8A8D714C2B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35652905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4DC5DEFF-DF4D-8F4E-933C-542362FED5E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02920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Plex Sans Light" panose="020B0403050000000000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C50B0D1-0C9D-624A-9F21-E20643433FD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29B10177-CC44-8C47-8D0E-F72734A81A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73C0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4D911AD-1037-E842-93B2-0783C91175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E34AEB90-AA0C-3E4C-A502-88A2543AE8F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459376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270F1CF1-190E-D04C-B754-73CA21E113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2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8CB514DA-CD07-F544-9B85-5F93F1704E2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D16FFEE-BBC8-DD42-806B-070FB8BB20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A155C0-57F6-0342-A9B6-29220FA83E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0752774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EQB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5BD66A3-0EDE-C940-9AFE-0C44154DCBE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D8B1B1-53FF-7846-B33B-C48FA774DAB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0229" y="7620500"/>
            <a:ext cx="297575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B305FC-CE85-9C4D-9496-9E13F5A466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10718" y="7517567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3A63EE-7B5E-AC41-AF30-A8329D900CE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499294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2809DAA-26DF-5B49-97D5-55F4E679A3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78F75C61-183D-EF4C-9121-F45C77D48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73C0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966729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4794C84-E508-5D48-991B-AAF4D51C70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FDEC2ED5-F426-9043-BFB3-17DFE08D5C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068CD4-070E-8A4A-80E7-B747C9F155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7D53B226-C0E3-8143-9553-0819E57E80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0638957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C9B9916-33A5-F845-9B53-350A76D4065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0229" y="7620500"/>
            <a:ext cx="297575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C9064A-C798-FE4D-981A-1D4C6367E4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710718" y="7517567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DBC9AD28-0C12-6644-8CBE-0959C72CA3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0"/>
            <a:ext cx="5490686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marR="0" indent="0" algn="ctr" defTabSz="822920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8F6FF84-D854-EA44-9D0E-A499B83FD5C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E8D5EE4-D590-8844-B0D8-8876B8E0AC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23870040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E9BD7DA-3207-8440-A6E1-4855224A285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BC8160-20C6-E943-A92B-B30D19CB7B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DB2FA80-B6CF-8F42-A2D3-A2CA70DE2A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1474075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76BE2EB-7844-CC4A-A2D4-71E7754B56F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BA6FC5-8E36-5A44-B3BC-47360495D3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70" y="-147890"/>
            <a:ext cx="1371600" cy="18288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457D4C-A279-8447-B589-1347DD4B99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6F93BC9-D559-6142-B163-CAE4B023D4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4742320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866E1F3-4609-0640-AD1B-2F672B8B8E10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0DC03F-BC76-6843-947D-9AC312F7898F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6420E7E7-DD61-044F-8ED4-E50CB9288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421364" y="3070127"/>
            <a:ext cx="5109332" cy="140917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750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98.5 bn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9DC0626-E8A0-CC44-B39F-BADA08786F58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4D519E8D-D528-264C-B18E-C97E841908B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2D9F6F1A-5F61-7F4C-AD28-CE1C6274B4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3193676-CE7F-014B-8984-394F01AFD7F6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4A4C2A17-7BBD-B443-BB9F-8D2F027BAC4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71972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F82A2387-3CB5-2B47-9852-686F85A316AD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DA70AE5-180D-EF44-89AF-B6EBEF9AB7E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FD565EAE-E121-4A42-A387-679C3C7CB24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9FFAB77-0A1A-B048-A12C-5CA16F89471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6A1CE6-8C86-9A48-8465-BD6367E411E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2178" y="3566172"/>
            <a:ext cx="2634680" cy="3721598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AC7287D5-11DD-5B4A-8097-9F078F3AAA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E93B38B8-5AEF-0348-9075-45E2BACBD9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17578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 userDrawn="1">
          <p15:clr>
            <a:srgbClr val="FBAE40"/>
          </p15:clr>
        </p15:guide>
        <p15:guide id="2" pos="3492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1FD3CAC5-B928-1E43-985B-1CDAAED26F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E5D9F62-74D1-F84E-8D16-FD3617B440A5}"/>
              </a:ext>
            </a:extLst>
          </p:cNvPr>
          <p:cNvCxnSpPr>
            <a:cxnSpLocks/>
          </p:cNvCxnSpPr>
          <p:nvPr userDrawn="1"/>
        </p:nvCxnSpPr>
        <p:spPr>
          <a:xfrm>
            <a:off x="342901" y="2743200"/>
            <a:ext cx="507332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72EA457-55F2-2B45-87E1-23BED43E31C9}"/>
              </a:ext>
            </a:extLst>
          </p:cNvPr>
          <p:cNvCxnSpPr>
            <a:cxnSpLocks/>
          </p:cNvCxnSpPr>
          <p:nvPr userDrawn="1"/>
        </p:nvCxnSpPr>
        <p:spPr>
          <a:xfrm>
            <a:off x="5544285" y="2743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3AEC4A-DA82-F346-87B6-8439448FB085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FAA45053-AF9A-8A42-8C1C-B1D59EDAB86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13015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893818ED-5294-A94D-9F3C-F2FC141FB85E}"/>
              </a:ext>
            </a:extLst>
          </p:cNvPr>
          <p:cNvCxnSpPr>
            <a:cxnSpLocks/>
          </p:cNvCxnSpPr>
          <p:nvPr userDrawn="1"/>
        </p:nvCxnSpPr>
        <p:spPr>
          <a:xfrm>
            <a:off x="5544285" y="5029200"/>
            <a:ext cx="5085616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A8C42AC-F045-5143-A125-4529C9C5D66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471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D308CE3-5995-5340-BD37-E4001D0AC950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452111" y="57484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E0489F57-D1D5-ED43-8741-6354365AFA9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38972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323367B-FA48-F84A-AE52-85D29A5ED268}"/>
              </a:ext>
            </a:extLst>
          </p:cNvPr>
          <p:cNvCxnSpPr>
            <a:cxnSpLocks/>
          </p:cNvCxnSpPr>
          <p:nvPr userDrawn="1"/>
        </p:nvCxnSpPr>
        <p:spPr>
          <a:xfrm>
            <a:off x="8055940" y="51816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12">
            <a:extLst>
              <a:ext uri="{FF2B5EF4-FFF2-40B4-BE49-F238E27FC236}">
                <a16:creationId xmlns:a16="http://schemas.microsoft.com/office/drawing/2014/main" id="{91CE0284-FE07-B042-AC13-8591B4DAB1F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113015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47AEE74-3902-2F41-975F-AB8C18C5646D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471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12">
            <a:extLst>
              <a:ext uri="{FF2B5EF4-FFF2-40B4-BE49-F238E27FC236}">
                <a16:creationId xmlns:a16="http://schemas.microsoft.com/office/drawing/2014/main" id="{B11DF6E8-BA8F-A343-A9A7-26D4F9BB7FA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5546276" y="3475135"/>
            <a:ext cx="2454727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4EDF6B51-11AC-704A-97B2-A04FBFC4E431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138972" y="283464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BF62093-8215-604A-88E7-A23A609BEA61}"/>
              </a:ext>
            </a:extLst>
          </p:cNvPr>
          <p:cNvCxnSpPr>
            <a:cxnSpLocks/>
          </p:cNvCxnSpPr>
          <p:nvPr userDrawn="1"/>
        </p:nvCxnSpPr>
        <p:spPr>
          <a:xfrm>
            <a:off x="8055940" y="2908300"/>
            <a:ext cx="0" cy="20193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0B543A9-50A9-B24A-AB3D-59895EEEF15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282178" y="3566164"/>
            <a:ext cx="2634680" cy="3721606"/>
          </a:xfrm>
          <a:prstGeom prst="rect">
            <a:avLst/>
          </a:prstGeom>
        </p:spPr>
        <p:txBody>
          <a:bodyPr/>
          <a:lstStyle>
            <a:lvl1pPr marL="128582" marR="0" indent="-128582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lang="en-US" sz="90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D3F08A0-4A63-E244-ABDD-976D88B060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2340C9E0-1D03-4E4A-BA3B-85A03C2A01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183460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D82C94A-F9C7-284E-853B-2E07ACB528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798575A-8932-9A49-B871-90157E1FC9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31" y="501421"/>
            <a:ext cx="4187971" cy="507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E95A5F9-F875-6C49-96D8-9A67643491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6333A04-D700-1045-90EC-0A78B39C3F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8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4062833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EQ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3B957D0-7A04-AA42-B0A7-4D42C6A01B0D}"/>
              </a:ext>
            </a:extLst>
          </p:cNvPr>
          <p:cNvCxnSpPr>
            <a:cxnSpLocks/>
          </p:cNvCxnSpPr>
          <p:nvPr userDrawn="1"/>
        </p:nvCxnSpPr>
        <p:spPr>
          <a:xfrm>
            <a:off x="3731837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213EA62-46A0-C048-B111-C692D272720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45831" y="3312521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6.67 bn</a:t>
            </a:r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DB292C36-D2BD-D84C-BECF-935BEE8C31F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785353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B6874B26-F31F-F748-8186-544B9E8273D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7242139" y="3311224"/>
            <a:ext cx="3366653" cy="10639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5220" b="1" i="0">
                <a:solidFill>
                  <a:srgbClr val="FFFF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$7.8 b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594E4948-6C0F-1743-8F69-87F2985AB1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2FA3CFD-1383-E740-9B0C-2EEDCB17EB27}"/>
              </a:ext>
            </a:extLst>
          </p:cNvPr>
          <p:cNvCxnSpPr>
            <a:cxnSpLocks/>
          </p:cNvCxnSpPr>
          <p:nvPr userDrawn="1"/>
        </p:nvCxnSpPr>
        <p:spPr>
          <a:xfrm>
            <a:off x="342900" y="2743200"/>
            <a:ext cx="1028700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AB563A6A-5F52-F347-B158-2A50E23F9BB6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82134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AAFD104-7C5A-E948-ABC9-F2215834BD4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8159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362F5F7C-E1B9-0647-AF32-20A80D7CACF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283009" y="2838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C19A404B-667A-874A-8471-30221F0436B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282134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3E3CCEC4-FA0D-664B-BCFD-0E4E3D7AFA3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159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sz="900" b="1" i="0" dirty="0">
                <a:latin typeface="Segoe UI" panose="020B0502040204020203" pitchFamily="34" charset="0"/>
                <a:cs typeface="Segoe UI" panose="020B0502040204020203" pitchFamily="34" charset="0"/>
              </a:rPr>
              <a:t>Headline</a:t>
            </a:r>
            <a:endParaRPr lang="en-US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B61C1FAB-2D6B-A34C-B965-2635360CD2C1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283009" y="5124850"/>
            <a:ext cx="1793081" cy="20812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B6893E18-66C7-114D-A9EE-1EDDCCF757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86399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81AA2E14-F288-D84C-BC8D-723D2B5DC5A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825046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EBF9A7CB-BD6D-C549-8D16-F85A877388E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86164" y="5486400"/>
            <a:ext cx="2568446" cy="182880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Lorem ipsum dolor sit amet, consectetuer adipiscing elit. Maecenas porttitor congue massa. Fusce posuere, magna sed pulvinar ultricies, purus lectus malesuada libero, sit amet commodo magna eros quis urna.</a:t>
            </a:r>
          </a:p>
          <a:p>
            <a:pPr lvl="0"/>
            <a:r>
              <a:rPr lang="en-US" dirty="0"/>
              <a:t>  </a:t>
            </a:r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850EC673-7D97-6A44-B5BB-6FE42552ADA7}"/>
              </a:ext>
            </a:extLst>
          </p:cNvPr>
          <p:cNvCxnSpPr>
            <a:cxnSpLocks/>
          </p:cNvCxnSpPr>
          <p:nvPr userDrawn="1"/>
        </p:nvCxnSpPr>
        <p:spPr>
          <a:xfrm>
            <a:off x="7227512" y="2895600"/>
            <a:ext cx="0" cy="441960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4025D663-6FA1-5C4B-997B-5ADE626717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D98CE7A7-D98D-9F44-8E94-6A1450364D9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229785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pos="2448" userDrawn="1">
          <p15:clr>
            <a:srgbClr val="FBAE40"/>
          </p15:clr>
        </p15:guide>
        <p15:guide id="3" pos="4625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71">
            <a:extLst>
              <a:ext uri="{FF2B5EF4-FFF2-40B4-BE49-F238E27FC236}">
                <a16:creationId xmlns:a16="http://schemas.microsoft.com/office/drawing/2014/main" id="{4B44A06D-1DA3-5343-B222-543919237BC6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0"/>
            <a:ext cx="10972800" cy="8229600"/>
          </a:xfrm>
          <a:prstGeom prst="rect">
            <a:avLst/>
          </a:prstGeom>
        </p:spPr>
        <p:txBody>
          <a:bodyPr anchor="ctr"/>
          <a:lstStyle>
            <a:lvl1pPr marL="0" marR="0" indent="0" algn="ctr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ctr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image her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D63682A-316C-EA44-827A-3E6C506639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D4C6B07-9A7A-A142-A800-18293A6956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545B3894-6357-E847-8D11-6A4DA2DD83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22">
            <a:extLst>
              <a:ext uri="{FF2B5EF4-FFF2-40B4-BE49-F238E27FC236}">
                <a16:creationId xmlns:a16="http://schemas.microsoft.com/office/drawing/2014/main" id="{860EC1C9-4D19-C046-9E31-4EA4C9EE1E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3913" y="3104425"/>
            <a:ext cx="2436019" cy="26583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02A9129-0660-CD46-A219-B840D39917A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2133" y="3397650"/>
            <a:ext cx="3440432" cy="2332038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quos mod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lp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non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FFFFFF"/>
                </a:solidFill>
                <a:effectLst/>
                <a:latin typeface="Segoe UI" panose="020B0502040204020203" pitchFamily="34" charset="0"/>
              </a:rPr>
              <a:t> et abo.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8411E9FF-8F2B-FF45-B5E5-30DC5B2251F3}"/>
              </a:ext>
            </a:extLst>
          </p:cNvPr>
          <p:cNvSpPr txBox="1">
            <a:spLocks/>
          </p:cNvSpPr>
          <p:nvPr userDrawn="1"/>
        </p:nvSpPr>
        <p:spPr>
          <a:xfrm>
            <a:off x="352044" y="7612677"/>
            <a:ext cx="1733932" cy="22184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FFFFFF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720" dirty="0">
              <a:latin typeface="IBM Eliot Sans Medium" panose="020B070305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2124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992" userDrawn="1">
          <p15:clr>
            <a:srgbClr val="FBAE40"/>
          </p15:clr>
        </p15:guide>
        <p15:guide id="2" orient="horz" pos="2208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EQ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43A56F3F-3B95-2C48-AA04-EE83014629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2352" y="1545340"/>
            <a:ext cx="8332470" cy="6249353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7FA2F48-D94E-F746-975E-497A7E787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194FDAB7-518D-FB45-8952-11E914DCA51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4930" y="346588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C0051A0-C26A-6740-BCCD-37161553B45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918" y="346588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8C647649-F2DF-2247-8BBC-D4099C16381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4930" y="6082081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17" name="Text Placeholder 14">
            <a:extLst>
              <a:ext uri="{FF2B5EF4-FFF2-40B4-BE49-F238E27FC236}">
                <a16:creationId xmlns:a16="http://schemas.microsoft.com/office/drawing/2014/main" id="{8E67F552-031C-2149-81E4-A270C4D5FC4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918" y="6082081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2810C657-DEED-D642-9507-F5CCD842A2F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406666" y="3925274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0" name="Text Placeholder 14">
            <a:extLst>
              <a:ext uri="{FF2B5EF4-FFF2-40B4-BE49-F238E27FC236}">
                <a16:creationId xmlns:a16="http://schemas.microsoft.com/office/drawing/2014/main" id="{967F1B28-92B9-A441-B22A-1626A925EF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149654" y="3925274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E25A3D71-DB0A-C041-876A-04CBBFDFEAF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880402" y="5686790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FB764867-989C-AE4D-A868-A26D5448D7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23390" y="5686790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C0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7C35F52A-02BE-8D48-8796-6EF9D30F1C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6D159EA-B9B8-894D-A6C4-2EAA44864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41436868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 slide_EQ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C270329-E48C-584A-8D9E-A0256F6089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980" y="1453896"/>
            <a:ext cx="8757666" cy="6568250"/>
          </a:xfrm>
          <a:prstGeom prst="rect">
            <a:avLst/>
          </a:prstGeom>
        </p:spPr>
      </p:pic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48540CD-AA9F-C142-9158-E73E8A97C95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4DF7846F-EB15-0949-A39B-D57E8F47E35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6843" y="38576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CC2A54B3-2F8C-1A40-B7CB-05B79A702E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6609" y="38576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0" name="Text Placeholder 14">
            <a:extLst>
              <a:ext uri="{FF2B5EF4-FFF2-40B4-BE49-F238E27FC236}">
                <a16:creationId xmlns:a16="http://schemas.microsoft.com/office/drawing/2014/main" id="{57F9853B-35CD-AE43-BCF7-0762A2692A7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21693" y="60547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1" name="Text Placeholder 14">
            <a:extLst>
              <a:ext uri="{FF2B5EF4-FFF2-40B4-BE49-F238E27FC236}">
                <a16:creationId xmlns:a16="http://schemas.microsoft.com/office/drawing/2014/main" id="{74769082-203C-D945-A5A8-915FA88B65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61459" y="60547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2" name="Text Placeholder 14">
            <a:extLst>
              <a:ext uri="{FF2B5EF4-FFF2-40B4-BE49-F238E27FC236}">
                <a16:creationId xmlns:a16="http://schemas.microsoft.com/office/drawing/2014/main" id="{C5E74914-8360-234F-9206-56B6C622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151830" y="59531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3" name="Text Placeholder 14">
            <a:extLst>
              <a:ext uri="{FF2B5EF4-FFF2-40B4-BE49-F238E27FC236}">
                <a16:creationId xmlns:a16="http://schemas.microsoft.com/office/drawing/2014/main" id="{E41D87EE-3D8C-A245-8D18-D8F0C2E368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900278" y="59531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4" name="Text Placeholder 14">
            <a:extLst>
              <a:ext uri="{FF2B5EF4-FFF2-40B4-BE49-F238E27FC236}">
                <a16:creationId xmlns:a16="http://schemas.microsoft.com/office/drawing/2014/main" id="{DB9A65C1-CA3B-8445-A62C-8ACDE32DAFF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51830" y="4289425"/>
            <a:ext cx="133341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 b="1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35" name="Text Placeholder 14">
            <a:extLst>
              <a:ext uri="{FF2B5EF4-FFF2-40B4-BE49-F238E27FC236}">
                <a16:creationId xmlns:a16="http://schemas.microsoft.com/office/drawing/2014/main" id="{EEED265C-8845-FC48-96B3-6771743EC33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900278" y="4289425"/>
            <a:ext cx="335144" cy="43815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200" b="1" i="0">
                <a:solidFill>
                  <a:srgbClr val="73BF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C53045E-983F-F84B-B049-87D0C80FC7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329E02F2-CA2F-624C-B91D-28BBB479E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9342548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EQB_01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2BB6CAF3-DFB1-E64C-A3A7-9DD64C066A3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373" y="2975959"/>
            <a:ext cx="10302058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60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hank you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0268A6-51AA-EC49-B574-D5C38D87E5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98E81514-2758-CB49-A367-75BD3A59B8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7EEA3BB-9DF6-2740-85AD-76D22B6E3889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17485209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EQB_02">
    <p:bg>
      <p:bgPr>
        <a:solidFill>
          <a:srgbClr val="0025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A5573-0A43-9740-BE2E-B408A14548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FB3C8A5C-1A5C-4848-BBF7-A155F824D6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74DA93-7E53-4716-AE66-B05FFF4C8A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14416" y="3127401"/>
            <a:ext cx="3401568" cy="197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48014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M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D699D66-FB69-D74D-8D14-D34010B9AD9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04676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EAE71ED-CCA7-7041-8EA1-89E842E5E7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75231186-8295-4841-8BFE-2BFEB7ADFB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5F814D2-9360-8441-B325-95B6F3AACD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4CBAF6D0-BAEE-614A-B1CA-EA87B135F9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335286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M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4E384A2-BCF1-3241-B6BC-F230C3CEF3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0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3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28056BC-493E-FF40-B5D6-A7C54EE285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D9549C-1A7F-714B-B6C9-B8C94AE1F7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0D08BCB-2DAE-7944-8628-ECC7F5339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9351021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MB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21406DAD-A14C-D64F-851C-3E4251E0E9D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059DB96-38BB-8C44-BEE6-79E193D3EF2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499293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C7C2759-5413-9647-B398-F269CDC851E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14A76205-1D2B-DA47-AF5A-87614A4421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2701831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M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97F86E8-6969-EA49-AA59-76B41BBA15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B3A8364-80DE-D642-9543-1056990AD9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761FD42-7C1C-7946-814E-DC90712C87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4E36A7DB-6B36-7146-8869-6F59D0A72F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4686701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F2F95F8-4E80-234C-8A79-9CDC432126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F85D0F6-27B0-CE42-9210-F8A3DCDCA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A823567-F4CC-A44A-B914-76FF7358F4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82056-9C51-3149-ACC8-7FDA967EF7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2748731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44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M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8505416-E8B1-5949-8598-E56FF2546D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377460" y="7617108"/>
            <a:ext cx="280140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239665-67ED-2843-AAE5-0D382A721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62893" y="7514175"/>
            <a:ext cx="3703320" cy="4381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E8B3310A-4204-8D44-AD12-6E474449216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7137"/>
            <a:ext cx="5490686" cy="822246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rgbClr val="75787B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4DB24E-2DEE-B441-A310-4D29BD8E59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4AACDFD-649E-D241-B7D9-6FBEF01C79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FFFFFF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31999018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LB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5784E16-54A4-5749-9787-C19890A6B98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869647-7650-C74B-A047-92E7266794C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34517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FCF0B-F5B5-884C-AB70-4F0D255DE3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A036E336-9A20-B64F-A76C-FE1BB8E735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3279146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0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LB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3032FDD-FC9E-AB4C-8234-3D0D62778D5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2114" y="0"/>
            <a:ext cx="5490686" cy="8229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384CAD2-BB35-2441-9FC3-D2010114F9A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5000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4C60CCA-485D-8445-9A7C-885EF35C59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8AAA384-1BA9-204E-9201-2EE77A9934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62056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8C8224F-49B7-2648-BF9F-F857E67B3F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444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5528161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B07A9891-9EA4-6A48-9E22-302B9EF36C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4497" y="6793654"/>
            <a:ext cx="3455497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resentation Sub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B00D1C-65A4-1044-A59D-A128D5EC11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0" y="2975966"/>
            <a:ext cx="10287000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en-US" sz="6000" b="1" i="0" dirty="0">
                <a:solidFill>
                  <a:srgbClr val="002577"/>
                </a:solidFill>
                <a:latin typeface="IBM Plex Sans" panose="020B0503050203000203" pitchFamily="34" charset="0"/>
              </a:defRPr>
            </a:lvl1pPr>
          </a:lstStyle>
          <a:p>
            <a:pPr marL="205720" lvl="0" indent="-205720" algn="ctr">
              <a:lnSpc>
                <a:spcPct val="85000"/>
              </a:lnSpc>
            </a:pPr>
            <a:r>
              <a:rPr lang="en-US" dirty="0"/>
              <a:t>Presentation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2ACCD9A0-40BD-D74A-ABEB-3B574060A45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82009" y="7057716"/>
            <a:ext cx="2824065" cy="3137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 b="0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19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0BCD390-C289-4E46-8BB6-32EA36456F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9996" y="480256"/>
            <a:ext cx="1892808" cy="1098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01127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E105F7-1BB2-F34D-985C-F926963095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247178BE-4645-7249-A632-CD9EF34D5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2AD0116-3696-BD4B-A8E6-28DC783419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2901" y="2975959"/>
            <a:ext cx="10226993" cy="2277683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6000" b="1" i="0" dirty="0">
                <a:solidFill>
                  <a:srgbClr val="002577"/>
                </a:solidFill>
                <a:latin typeface="IBM Plex Sans" panose="020B050305020300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Thank you.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20DCA0D-6C9C-4840-8BF5-F1C4AAB39470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563577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76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2A042-2972-BC4D-B818-B0124095FF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88CC1EAB-BEEB-0142-A1BA-F7313EF403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A2206F9-2B9C-4729-B58A-A5025E51E6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5616" y="3127401"/>
            <a:ext cx="3401568" cy="197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21291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70C9CB4-B08E-DF45-B296-5B3DFF34A4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6AA584-27BB-2F40-A904-0D13D24B3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025FDBF-FBAB-9144-90F0-4E5B96A09A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2902" y="5927064"/>
            <a:ext cx="10286999" cy="1549248"/>
          </a:xfrm>
          <a:prstGeom prst="rect">
            <a:avLst/>
          </a:prstGeom>
        </p:spPr>
        <p:txBody>
          <a:bodyPr anchor="ctr" anchorCtr="0"/>
          <a:lstStyle>
            <a:lvl1pPr>
              <a:defRPr lang="en-US" sz="4050" b="1" i="0" dirty="0">
                <a:solidFill>
                  <a:schemeClr val="accent1"/>
                </a:solidFill>
                <a:latin typeface="IBM Plex Sans" panose="020B0503050203000203" pitchFamily="34" charset="0"/>
              </a:defRPr>
            </a:lvl1pPr>
          </a:lstStyle>
          <a:p>
            <a:pPr marL="0" lvl="0" indent="0" algn="ctr">
              <a:lnSpc>
                <a:spcPct val="85000"/>
              </a:lnSpc>
              <a:buNone/>
            </a:pPr>
            <a:r>
              <a:rPr lang="en-US" dirty="0"/>
              <a:t>Section Title Here</a:t>
            </a:r>
          </a:p>
        </p:txBody>
      </p:sp>
    </p:spTree>
    <p:extLst>
      <p:ext uri="{BB962C8B-B14F-4D97-AF65-F5344CB8AC3E}">
        <p14:creationId xmlns:p14="http://schemas.microsoft.com/office/powerpoint/2010/main" val="1604671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184" userDrawn="1">
          <p15:clr>
            <a:srgbClr val="FBAE40"/>
          </p15:clr>
        </p15:guide>
        <p15:guide id="2" orient="horz" userDrawn="1">
          <p15:clr>
            <a:srgbClr val="FBAE40"/>
          </p15:clr>
        </p15:guide>
        <p15:guide id="3" userDrawn="1">
          <p15:clr>
            <a:srgbClr val="FBAE40"/>
          </p15:clr>
        </p15:guide>
        <p15:guide id="4" pos="6912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3C0B67F8-4B23-4242-B45B-74CFFAD9C91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29" y="517147"/>
            <a:ext cx="2374419" cy="305258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1200" b="0" i="0">
                <a:solidFill>
                  <a:srgbClr val="002677"/>
                </a:solidFill>
                <a:latin typeface="IBM Plex Sans Light" panose="020B0403050000000000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BD905AF-340E-BB48-968E-98622EF3A8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7" name="Text Placeholder 14">
            <a:extLst>
              <a:ext uri="{FF2B5EF4-FFF2-40B4-BE49-F238E27FC236}">
                <a16:creationId xmlns:a16="http://schemas.microsoft.com/office/drawing/2014/main" id="{B3C1B4ED-375C-F840-82BA-0FEF778EC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9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BB234D2-4E19-174B-B5CE-5A78159B41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BD589BE-546F-9544-BEC8-7CB3EF7054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2769244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3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1960E23-FBD9-6647-A373-98A4444F63C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91457" y="78058"/>
            <a:ext cx="1832846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112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DD267E6-E00F-9346-9BAF-BD7F2E16D8D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9641" y="2653995"/>
            <a:ext cx="4208061" cy="268000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" panose="020B05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  <a:p>
            <a:r>
              <a:rPr lang="en-US" dirty="0"/>
              <a:t>Title Her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9D72741-C454-5D4C-91E8-8E2E5FD06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67404" y="761268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9553DADC-9F0C-9344-A677-AAF158AEC3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57791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</p:spTree>
    <p:extLst>
      <p:ext uri="{BB962C8B-B14F-4D97-AF65-F5344CB8AC3E}">
        <p14:creationId xmlns:p14="http://schemas.microsoft.com/office/powerpoint/2010/main" val="17158499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D82C94A-F9C7-284E-853B-2E07ACB5288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86400" y="0"/>
            <a:ext cx="5486400" cy="8229600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798575A-8932-9A49-B871-90157E1FC9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9731" y="501421"/>
            <a:ext cx="4187971" cy="50725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200" b="0" i="0">
                <a:solidFill>
                  <a:srgbClr val="0026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SECTION HEADER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E95A5F9-F875-6C49-96D8-9A67643491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3020" y="1275250"/>
            <a:ext cx="4204680" cy="70728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41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 algn="ctr">
              <a:buNone/>
              <a:defRPr sz="1800"/>
            </a:lvl2pPr>
            <a:lvl3pPr marL="822878" indent="0" algn="ctr">
              <a:buNone/>
              <a:defRPr sz="1620"/>
            </a:lvl3pPr>
            <a:lvl4pPr marL="1234319" indent="0" algn="ctr">
              <a:buNone/>
              <a:defRPr sz="1440"/>
            </a:lvl4pPr>
            <a:lvl5pPr marL="1645756" indent="0" algn="ctr">
              <a:buNone/>
              <a:defRPr sz="1440"/>
            </a:lvl5pPr>
            <a:lvl6pPr marL="2057195" indent="0" algn="ctr">
              <a:buNone/>
              <a:defRPr sz="1440"/>
            </a:lvl6pPr>
            <a:lvl7pPr marL="2468633" indent="0" algn="ctr">
              <a:buNone/>
              <a:defRPr sz="1440"/>
            </a:lvl7pPr>
            <a:lvl8pPr marL="2880072" indent="0" algn="ctr">
              <a:buNone/>
              <a:defRPr sz="1440"/>
            </a:lvl8pPr>
            <a:lvl9pPr marL="3291512" indent="0" algn="ctr">
              <a:buNone/>
              <a:defRPr sz="1440"/>
            </a:lvl9pPr>
          </a:lstStyle>
          <a:p>
            <a:r>
              <a:rPr lang="en-US" dirty="0"/>
              <a:t>Section 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E6333A04-D700-1045-90EC-0A78B39C3F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3023" y="2106298"/>
            <a:ext cx="4204678" cy="2008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12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3443679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0FB860-59F4-0949-81E8-923023D66D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114" y="7615682"/>
            <a:ext cx="336252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748E0B-8131-E648-BBB2-5304F9040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7A9D8E9-249B-0540-A4E3-F073E1E8915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86400" y="0"/>
            <a:ext cx="5486400" cy="8229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75787B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b="0" i="0" dirty="0">
                <a:latin typeface="Segoe UI" panose="020B0502040204020203" pitchFamily="34" charset="0"/>
                <a:cs typeface="Segoe UI" panose="020B0502040204020203" pitchFamily="34" charset="0"/>
              </a:rPr>
              <a:t>IMAGE  PLACEHOLDER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C8FD689-E95A-7C48-B4DE-AFFF822A82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7B54C4-C5A0-0B4E-8CD3-36B196B143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177721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F2F95F8-4E80-234C-8A79-9CDC432126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F85D0F6-27B0-CE42-9210-F8A3DCDCA6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A823567-F4CC-A44A-B914-76FF7358F4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82056-9C51-3149-ACC8-7FDA967EF7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626062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44" userDrawn="1">
          <p15:clr>
            <a:srgbClr val="FBAE40"/>
          </p15:clr>
        </p15:guide>
        <p15:guide id="2" orient="horz" pos="4320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 Away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0FB860-59F4-0949-81E8-923023D66D9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27114" y="7615682"/>
            <a:ext cx="336252" cy="349608"/>
          </a:xfrm>
          <a:prstGeom prst="rect">
            <a:avLst/>
          </a:prstGeom>
        </p:spPr>
        <p:txBody>
          <a:bodyPr/>
          <a:lstStyle/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748E0B-8131-E648-BBB2-5304F9040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7A9D8E9-249B-0540-A4E3-F073E1E8915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86400" y="0"/>
            <a:ext cx="5486400" cy="82296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="0" i="0">
                <a:solidFill>
                  <a:srgbClr val="75787B"/>
                </a:solidFill>
                <a:latin typeface="IBM Plex Sans Medium" panose="020B060305020300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b="0" i="0" dirty="0">
                <a:latin typeface="Segoe UI" panose="020B0502040204020203" pitchFamily="34" charset="0"/>
                <a:cs typeface="Segoe UI" panose="020B0502040204020203" pitchFamily="34" charset="0"/>
              </a:rPr>
              <a:t>IMAGE  PLACEHOLDER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C8FD689-E95A-7C48-B4DE-AFFF822A829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1429" y="2208618"/>
            <a:ext cx="4734517" cy="155420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75" b="1" i="0">
                <a:solidFill>
                  <a:srgbClr val="3369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Key Take Away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37B54C4-C5A0-0B4E-8CD3-36B196B143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7115" y="4038600"/>
            <a:ext cx="4716842" cy="2819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sz="1200" b="0" i="0" spc="8" baseline="0">
                <a:solidFill>
                  <a:srgbClr val="002577"/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err="1"/>
              <a:t>Occatur</a:t>
            </a:r>
            <a:r>
              <a:rPr lang="en-US" dirty="0"/>
              <a:t>, </a:t>
            </a:r>
            <a:r>
              <a:rPr lang="en-US" dirty="0" err="1"/>
              <a:t>odi</a:t>
            </a:r>
            <a:r>
              <a:rPr lang="en-US" dirty="0"/>
              <a:t> </a:t>
            </a:r>
            <a:r>
              <a:rPr lang="en-US" dirty="0" err="1"/>
              <a:t>optio</a:t>
            </a:r>
            <a:r>
              <a:rPr lang="en-US" dirty="0"/>
              <a:t> </a:t>
            </a:r>
            <a:r>
              <a:rPr lang="en-US" dirty="0" err="1"/>
              <a:t>consequi</a:t>
            </a:r>
            <a:r>
              <a:rPr lang="en-US" dirty="0"/>
              <a:t> am que pro </a:t>
            </a:r>
            <a:r>
              <a:rPr lang="en-US" dirty="0" err="1"/>
              <a:t>berrunti</a:t>
            </a:r>
            <a:r>
              <a:rPr lang="en-US" dirty="0"/>
              <a:t> re quo </a:t>
            </a:r>
            <a:r>
              <a:rPr lang="en-US" dirty="0" err="1"/>
              <a:t>iminimus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es el </a:t>
            </a:r>
            <a:r>
              <a:rPr lang="en-US" dirty="0" err="1"/>
              <a:t>estiam</a:t>
            </a:r>
            <a:r>
              <a:rPr lang="en-US" dirty="0"/>
              <a:t> ex </a:t>
            </a:r>
            <a:r>
              <a:rPr lang="en-US" dirty="0" err="1"/>
              <a:t>excearuptae</a:t>
            </a:r>
            <a:r>
              <a:rPr lang="en-US" dirty="0"/>
              <a:t>. </a:t>
            </a:r>
            <a:r>
              <a:rPr lang="en-US" dirty="0" err="1"/>
              <a:t>Uga</a:t>
            </a:r>
            <a:r>
              <a:rPr lang="en-US" dirty="0"/>
              <a:t>. Ut et </a:t>
            </a:r>
            <a:r>
              <a:rPr lang="en-US" dirty="0" err="1"/>
              <a:t>aliqua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eos</a:t>
            </a:r>
            <a:r>
              <a:rPr lang="en-US" dirty="0"/>
              <a:t> </a:t>
            </a:r>
            <a:r>
              <a:rPr lang="en-US" dirty="0" err="1"/>
              <a:t>natur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ute</a:t>
            </a:r>
            <a:r>
              <a:rPr lang="en-US" dirty="0"/>
              <a:t> </a:t>
            </a:r>
            <a:r>
              <a:rPr lang="en-US" dirty="0" err="1"/>
              <a:t>duciisq</a:t>
            </a:r>
            <a:r>
              <a:rPr lang="en-US" dirty="0"/>
              <a:t> </a:t>
            </a:r>
            <a:r>
              <a:rPr lang="en-US" dirty="0" err="1"/>
              <a:t>uatbus</a:t>
            </a:r>
            <a:r>
              <a:rPr lang="en-US" dirty="0"/>
              <a:t>, </a:t>
            </a:r>
            <a:r>
              <a:rPr lang="en-US" dirty="0" err="1"/>
              <a:t>aut</a:t>
            </a:r>
            <a:r>
              <a:rPr lang="en-US" dirty="0"/>
              <a:t> quos mod non </a:t>
            </a:r>
            <a:r>
              <a:rPr lang="en-US" dirty="0" err="1"/>
              <a:t>rerorer</a:t>
            </a:r>
            <a:r>
              <a:rPr lang="en-US" dirty="0"/>
              <a:t> </a:t>
            </a:r>
            <a:r>
              <a:rPr lang="en-US" dirty="0" err="1"/>
              <a:t>spelicil</a:t>
            </a:r>
            <a:r>
              <a:rPr lang="en-US" dirty="0"/>
              <a:t> </a:t>
            </a:r>
            <a:r>
              <a:rPr lang="en-US" dirty="0" err="1"/>
              <a:t>mo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eatia</a:t>
            </a:r>
            <a:r>
              <a:rPr lang="en-US" dirty="0"/>
              <a:t> </a:t>
            </a:r>
            <a:r>
              <a:rPr lang="en-US" dirty="0" err="1"/>
              <a:t>seque</a:t>
            </a:r>
            <a:r>
              <a:rPr lang="en-US" dirty="0"/>
              <a:t> </a:t>
            </a:r>
            <a:r>
              <a:rPr lang="en-US" dirty="0" err="1"/>
              <a:t>officit</a:t>
            </a:r>
            <a:r>
              <a:rPr lang="en-US" dirty="0"/>
              <a:t> </a:t>
            </a:r>
            <a:r>
              <a:rPr lang="en-US" dirty="0" err="1"/>
              <a:t>ventium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quist</a:t>
            </a:r>
            <a:r>
              <a:rPr lang="en-US" dirty="0"/>
              <a:t>, quid </a:t>
            </a:r>
            <a:r>
              <a:rPr lang="en-US" dirty="0" err="1"/>
              <a:t>earum</a:t>
            </a:r>
            <a:r>
              <a:rPr lang="en-US" dirty="0"/>
              <a:t>, cum </a:t>
            </a:r>
            <a:r>
              <a:rPr lang="en-US" dirty="0" err="1"/>
              <a:t>adi</a:t>
            </a:r>
            <a:r>
              <a:rPr lang="en-US" dirty="0"/>
              <a:t> </a:t>
            </a:r>
            <a:r>
              <a:rPr lang="en-US" dirty="0" err="1"/>
              <a:t>blaut</a:t>
            </a:r>
            <a:r>
              <a:rPr lang="en-US" dirty="0"/>
              <a:t> </a:t>
            </a:r>
            <a:r>
              <a:rPr lang="en-US" dirty="0" err="1"/>
              <a:t>miligen</a:t>
            </a:r>
            <a:r>
              <a:rPr lang="en-US" dirty="0"/>
              <a:t> </a:t>
            </a:r>
            <a:r>
              <a:rPr lang="en-US" dirty="0" err="1"/>
              <a:t>tiorit</a:t>
            </a:r>
            <a:r>
              <a:rPr lang="en-US" dirty="0"/>
              <a:t> </a:t>
            </a:r>
            <a:r>
              <a:rPr lang="en-US" dirty="0" err="1"/>
              <a:t>moloribus</a:t>
            </a:r>
            <a:r>
              <a:rPr lang="en-US" dirty="0"/>
              <a:t> </a:t>
            </a:r>
            <a:r>
              <a:rPr lang="en-US" dirty="0" err="1"/>
              <a:t>est</a:t>
            </a:r>
            <a:r>
              <a:rPr lang="en-US" dirty="0"/>
              <a:t>,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harum</a:t>
            </a:r>
            <a:r>
              <a:rPr lang="en-US" dirty="0"/>
              <a:t> </a:t>
            </a:r>
            <a:r>
              <a:rPr lang="en-US" dirty="0" err="1"/>
              <a:t>eatendi</a:t>
            </a:r>
            <a:r>
              <a:rPr lang="en-US" dirty="0"/>
              <a:t> </a:t>
            </a:r>
            <a:r>
              <a:rPr lang="en-US" dirty="0" err="1"/>
              <a:t>dolessus</a:t>
            </a:r>
            <a:r>
              <a:rPr lang="en-US" dirty="0"/>
              <a:t> </a:t>
            </a:r>
            <a:r>
              <a:rPr lang="en-US" dirty="0" err="1"/>
              <a:t>ero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restionseque</a:t>
            </a:r>
            <a:r>
              <a:rPr lang="en-US" dirty="0"/>
              <a:t> </a:t>
            </a:r>
            <a:r>
              <a:rPr lang="en-US" dirty="0" err="1"/>
              <a:t>dist</a:t>
            </a:r>
            <a:r>
              <a:rPr lang="en-US" dirty="0"/>
              <a:t>, cone nit </a:t>
            </a:r>
            <a:r>
              <a:rPr lang="en-US" dirty="0" err="1"/>
              <a:t>iducips</a:t>
            </a:r>
            <a:r>
              <a:rPr lang="en-US" dirty="0"/>
              <a:t> </a:t>
            </a:r>
            <a:r>
              <a:rPr lang="en-US" dirty="0" err="1"/>
              <a:t>ustionem</a:t>
            </a:r>
            <a:r>
              <a:rPr lang="en-US" dirty="0"/>
              <a:t> </a:t>
            </a:r>
            <a:r>
              <a:rPr lang="en-US" dirty="0" err="1"/>
              <a:t>volecturitia</a:t>
            </a:r>
            <a:r>
              <a:rPr lang="en-US" dirty="0"/>
              <a:t> dis </a:t>
            </a:r>
            <a:r>
              <a:rPr lang="en-US" dirty="0" err="1"/>
              <a:t>ducimusam</a:t>
            </a:r>
            <a:r>
              <a:rPr lang="en-US" dirty="0"/>
              <a:t> </a:t>
            </a:r>
            <a:r>
              <a:rPr lang="en-US" dirty="0" err="1"/>
              <a:t>faccu</a:t>
            </a:r>
            <a:r>
              <a:rPr lang="en-US" dirty="0"/>
              <a:t>, sim </a:t>
            </a:r>
            <a:r>
              <a:rPr lang="en-US" dirty="0" err="1"/>
              <a:t>apitas</a:t>
            </a:r>
            <a:r>
              <a:rPr lang="en-US" dirty="0"/>
              <a:t> et abo.</a:t>
            </a:r>
          </a:p>
        </p:txBody>
      </p:sp>
    </p:spTree>
    <p:extLst>
      <p:ext uri="{BB962C8B-B14F-4D97-AF65-F5344CB8AC3E}">
        <p14:creationId xmlns:p14="http://schemas.microsoft.com/office/powerpoint/2010/main" val="2996009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40" userDrawn="1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0" y="4627344"/>
            <a:ext cx="10972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6DC2001-AC0D-3F41-87FE-27FD1320B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4456395" y="2021304"/>
            <a:ext cx="0" cy="5212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030915" y="2021304"/>
            <a:ext cx="0" cy="5212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id="{FA7C2E4F-5A3D-FE46-B30F-595E936418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C97F4025-1428-E848-AB50-95898C85EE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6A745FEC-0DCE-D347-A303-F04698E051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5E99F75-E396-854D-A64C-EFF76DC40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4C5EE9B-493D-B04D-A576-C96F91A0BB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705B5911-3B2D-CC4C-874A-11225C04D0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11D8F1D-5590-9C4F-809E-6F6E152836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BA4ADCC-84A0-AE45-8374-C9C0D3F611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991205A-62B3-A64A-88D3-52FA74BEEE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F815BA2-DF20-C347-B889-CB5E7C4A0CE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5A7E8000-DC19-1D4F-9A5E-531B5751FC8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43BB231-9E79-B948-B4DC-6003601A93E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4DAE56D6-9E95-A649-B4C9-07D39FCA89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BA30A8D-AE69-6D4A-901B-2CA3F13538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9B4A676C-3C2C-754D-A494-C95EA23B9A5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6D2C611-C7BC-2445-B6E1-D6F2CE80DF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B05ACC63-2749-C44E-AF5C-7AEA316C91A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6AF4496-A798-E14B-B314-8070E237250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9273064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2" userDrawn="1">
          <p15:clr>
            <a:srgbClr val="FBAE40"/>
          </p15:clr>
        </p15:guide>
        <p15:guide id="2" pos="3690" userDrawn="1">
          <p15:clr>
            <a:srgbClr val="FBAE40"/>
          </p15:clr>
        </p15:guide>
        <p15:guide id="3" pos="5418" userDrawn="1">
          <p15:clr>
            <a:srgbClr val="FBAE40"/>
          </p15:clr>
        </p15:guide>
        <p15:guide id="4" orient="horz" pos="3120" userDrawn="1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878966A-1635-A948-B6CB-D922DE71130A}"/>
              </a:ext>
            </a:extLst>
          </p:cNvPr>
          <p:cNvSpPr/>
          <p:nvPr userDrawn="1"/>
        </p:nvSpPr>
        <p:spPr>
          <a:xfrm>
            <a:off x="0" y="2286000"/>
            <a:ext cx="10972800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1" y="4800600"/>
            <a:ext cx="10976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57F96F0-9F1C-DD40-8D68-283BAD32A2E5}"/>
              </a:ext>
            </a:extLst>
          </p:cNvPr>
          <p:cNvCxnSpPr>
            <a:cxnSpLocks/>
          </p:cNvCxnSpPr>
          <p:nvPr userDrawn="1"/>
        </p:nvCxnSpPr>
        <p:spPr>
          <a:xfrm>
            <a:off x="2738168" y="2187554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ubtitle 2">
            <a:extLst>
              <a:ext uri="{FF2B5EF4-FFF2-40B4-BE49-F238E27FC236}">
                <a16:creationId xmlns:a16="http://schemas.microsoft.com/office/drawing/2014/main" id="{EBE62145-C6F1-DD41-953C-FEDE5899126A}"/>
              </a:ext>
            </a:extLst>
          </p:cNvPr>
          <p:cNvSpPr txBox="1">
            <a:spLocks/>
          </p:cNvSpPr>
          <p:nvPr userDrawn="1"/>
        </p:nvSpPr>
        <p:spPr>
          <a:xfrm>
            <a:off x="412395" y="4716383"/>
            <a:ext cx="498226" cy="932574"/>
          </a:xfrm>
          <a:prstGeom prst="rect">
            <a:avLst/>
          </a:prstGeom>
        </p:spPr>
        <p:txBody>
          <a:bodyPr vert="horz" lIns="82296" tIns="41148" rIns="82296" bIns="41148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4500" b="1" kern="1200">
                <a:solidFill>
                  <a:srgbClr val="002677"/>
                </a:solidFill>
                <a:latin typeface="Helvetica" pitchFamily="2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5851" b="0" i="0" dirty="0">
              <a:solidFill>
                <a:srgbClr val="73BFFF"/>
              </a:solidFill>
              <a:latin typeface="IBM Eliot Sans Medium" panose="020B0703050000000000" pitchFamily="34" charset="0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5485095" y="2170166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225538" y="2128180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831AA5DA-4C98-CD4C-BD82-BFADF2AA8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81606218-C785-CE4E-9E24-2F2029B699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3F7A6862-765C-774A-B229-13D1652D14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48" y="400487"/>
            <a:ext cx="4355502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05757D10-F62F-4740-B9A7-A483539694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F03B161-7BA1-2F4B-AE38-205D5A420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A03C70C-3C27-4640-9452-11619D59BD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ACE675BB-4ECC-A44C-8B18-9AAA1966A34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3DDDD741-B28C-C44C-B72E-4BB6314DCCF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0DAB2C6-4974-DE4D-BEB1-6C2F305BFD55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9125A92-6D79-104E-99F9-9A81371C1D2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0D5A265-D3C0-4143-B509-8F19D167919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D71A2BD7-A04D-D74D-8969-D3A70A8815CA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0346B2C6-55F3-F743-A910-5D70D9F4CB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8751F895-446E-B74F-836C-BD9C179DC681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FDE878C6-0442-DC4D-9096-E8825B38CC0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10E830AD-B157-6E41-B1CC-07B3AE78240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C401C74-0372-DF4B-8B59-42DDBED2BEF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59FC9668-2DD8-A94F-A954-E37D86C3A6B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90DD6D32-1F14-104B-A68A-F649E5E2399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8804775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CB95045-5EFA-FD48-96A2-86695AE602C6}"/>
              </a:ext>
            </a:extLst>
          </p:cNvPr>
          <p:cNvSpPr/>
          <p:nvPr userDrawn="1"/>
        </p:nvSpPr>
        <p:spPr>
          <a:xfrm>
            <a:off x="7324343" y="2285998"/>
            <a:ext cx="3662172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EE60E0A-C2F3-E648-889E-E2559A21D98E}"/>
              </a:ext>
            </a:extLst>
          </p:cNvPr>
          <p:cNvSpPr/>
          <p:nvPr userDrawn="1"/>
        </p:nvSpPr>
        <p:spPr>
          <a:xfrm>
            <a:off x="3662171" y="2285998"/>
            <a:ext cx="3662172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24D0728-043B-8E46-B4F5-BF5D9993809A}"/>
              </a:ext>
            </a:extLst>
          </p:cNvPr>
          <p:cNvSpPr/>
          <p:nvPr userDrawn="1"/>
        </p:nvSpPr>
        <p:spPr>
          <a:xfrm>
            <a:off x="-1" y="2286000"/>
            <a:ext cx="3662172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464812A-2556-C641-A251-A50CE98C573F}"/>
              </a:ext>
            </a:extLst>
          </p:cNvPr>
          <p:cNvCxnSpPr/>
          <p:nvPr userDrawn="1"/>
        </p:nvCxnSpPr>
        <p:spPr>
          <a:xfrm>
            <a:off x="3660081" y="2103120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DE3ADC4-BBD0-F642-9C8F-99BFD6B59B65}"/>
              </a:ext>
            </a:extLst>
          </p:cNvPr>
          <p:cNvCxnSpPr/>
          <p:nvPr userDrawn="1"/>
        </p:nvCxnSpPr>
        <p:spPr>
          <a:xfrm>
            <a:off x="7324343" y="2194924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25BCC073-AE51-D345-AEB5-1BFF0D01F1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969B57E-C4AA-1C4C-9D96-8EB1CE29CB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8BB7DD6-A719-8740-A2D8-C776C5E6B6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1EFFFC6E-882C-7C46-B189-2B2DB7B483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77C11F3C-52FB-1C4F-9EF3-27FF3841B6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66670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641664A-B770-234A-AE28-DFBA24D597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524270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19E8A2B3-D988-CE4D-9053-B6B9A5E2AA6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237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3DBFCC85-7F6B-DD48-A664-DFD5053951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71687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69870FD0-57D9-1349-9542-8298039A8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18898" y="3670363"/>
            <a:ext cx="3135026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</p:spTree>
    <p:extLst>
      <p:ext uri="{BB962C8B-B14F-4D97-AF65-F5344CB8AC3E}">
        <p14:creationId xmlns:p14="http://schemas.microsoft.com/office/powerpoint/2010/main" val="2467537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602" userDrawn="1">
          <p15:clr>
            <a:srgbClr val="FBAE40"/>
          </p15:clr>
        </p15:guide>
        <p15:guide id="2" orient="horz" pos="1440" userDrawn="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C1CA15B-0DC0-FA49-85C2-FA530C8F30B5}"/>
              </a:ext>
            </a:extLst>
          </p:cNvPr>
          <p:cNvSpPr/>
          <p:nvPr userDrawn="1"/>
        </p:nvSpPr>
        <p:spPr>
          <a:xfrm>
            <a:off x="7" y="2286000"/>
            <a:ext cx="2740457" cy="50292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216500F-B1A9-4645-882F-C86D370553D8}"/>
              </a:ext>
            </a:extLst>
          </p:cNvPr>
          <p:cNvSpPr/>
          <p:nvPr userDrawn="1"/>
        </p:nvSpPr>
        <p:spPr>
          <a:xfrm>
            <a:off x="2736371" y="2285998"/>
            <a:ext cx="2740457" cy="5029202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8448808-F38D-0243-B81C-1B75E52611FF}"/>
              </a:ext>
            </a:extLst>
          </p:cNvPr>
          <p:cNvSpPr/>
          <p:nvPr userDrawn="1"/>
        </p:nvSpPr>
        <p:spPr>
          <a:xfrm>
            <a:off x="5472734" y="2285998"/>
            <a:ext cx="2740457" cy="5029202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solidFill>
                <a:srgbClr val="73C0FF"/>
              </a:solidFill>
              <a:latin typeface="IBM Eliot Sans Medium" panose="020B0703050000000000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7C25F0D-9D79-944D-98C3-79128E3BF0BA}"/>
              </a:ext>
            </a:extLst>
          </p:cNvPr>
          <p:cNvSpPr/>
          <p:nvPr userDrawn="1"/>
        </p:nvSpPr>
        <p:spPr>
          <a:xfrm>
            <a:off x="8217615" y="2285998"/>
            <a:ext cx="2758001" cy="5029202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A6FF31F-07CC-8D41-8031-CFAEFCE4A73B}"/>
              </a:ext>
            </a:extLst>
          </p:cNvPr>
          <p:cNvCxnSpPr/>
          <p:nvPr userDrawn="1"/>
        </p:nvCxnSpPr>
        <p:spPr>
          <a:xfrm>
            <a:off x="2736364" y="2206659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C9DC4D7-1B1E-174C-940D-A3793C843D01}"/>
              </a:ext>
            </a:extLst>
          </p:cNvPr>
          <p:cNvCxnSpPr/>
          <p:nvPr userDrawn="1"/>
        </p:nvCxnSpPr>
        <p:spPr>
          <a:xfrm>
            <a:off x="5465474" y="2181945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93BB7E-F5F2-E649-8033-7166E90A7207}"/>
              </a:ext>
            </a:extLst>
          </p:cNvPr>
          <p:cNvCxnSpPr/>
          <p:nvPr userDrawn="1"/>
        </p:nvCxnSpPr>
        <p:spPr>
          <a:xfrm>
            <a:off x="8213184" y="2194302"/>
            <a:ext cx="0" cy="521208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380002C4-0FB2-5844-A675-D6F402F57E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1DD1F092-6564-A645-82F4-978A0E34CD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3D7F8090-242A-7D45-B018-EC8BB81EF6F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D739A91B-ECAC-694E-B1D4-B08743F7A71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73DFE6B0-7DF2-6642-83E1-66F1093474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73C0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05442459-8373-1A41-9688-B9B80826021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9672854A-915C-CB40-9798-89F42D35DAE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6F2C4F87-A008-5845-BCBD-D3097A7558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37108E50-1C2C-2B4B-B315-85FB3DD1EC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D77F7913-4904-164E-A7C4-69D8433AC5E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002577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2501913-11BF-844A-B7B0-1D42A71BA73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8563932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A69D7DFC-1099-1746-ADF1-909D42C622C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29717" y="438055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B2AEFFC-36FA-DA45-A980-62BC975A318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36617" y="431037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7ED6AFB-6FB3-7440-B489-CD200AE6B5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137022" y="779468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AD82C669-BFF4-6441-97EE-76036B5AF2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19423A1B-70A4-DD45-AAD3-7E09BE2678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7C9121C-114C-8E45-9D47-399B0C5BB60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3276887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23F73415-9424-3D41-A915-14E74B5412F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29717" y="1380807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69942FB6-6C4B-064F-BF72-3F67107FB22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36617" y="1373789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D7F34662-6718-2A41-8BC8-656955C1FC1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137022" y="1722220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70C7F770-653E-3F47-A963-EF00C7F66CC4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729717" y="22952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35B71456-1F90-CE4C-8A7A-405D94297AC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136617" y="22881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E110D69C-A7B6-414D-891C-B12C8362C72C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137022" y="26366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012600EF-A3C0-5647-A4EB-A23FD379EE5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3729717" y="32096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980B827E-5D10-9045-BE57-3772946E7C4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136617" y="32025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4BE11A2A-277C-E34C-8080-87DA1081A60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137022" y="35510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7B3A6ACA-6A51-F645-B1A7-96BB7D8341F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222508" y="438055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C4C6F39D-F727-CD41-BED3-131081D6B7D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629406" y="431037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11C0F3E5-4856-1A4C-AD0F-2B7CE8CDCE6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629811" y="779468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1" name="Text Placeholder 6">
            <a:extLst>
              <a:ext uri="{FF2B5EF4-FFF2-40B4-BE49-F238E27FC236}">
                <a16:creationId xmlns:a16="http://schemas.microsoft.com/office/drawing/2014/main" id="{FA849705-29FD-8844-A337-F6FCDE660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22508" y="1380807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C7B581DD-DB5E-FB4C-9686-8E0549A0EB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29406" y="1373789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781964BB-5C6D-9341-93A4-69C3AAEB50B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629811" y="1722220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4" name="Text Placeholder 6">
            <a:extLst>
              <a:ext uri="{FF2B5EF4-FFF2-40B4-BE49-F238E27FC236}">
                <a16:creationId xmlns:a16="http://schemas.microsoft.com/office/drawing/2014/main" id="{B8043DE7-2CDB-FF48-BF5C-CD5CB27E6E3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222508" y="22952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45242C1D-7379-A143-A0AF-BF2180C465D6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629406" y="22881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76F0D62-7A00-0448-8018-B623ECFCF6A7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629811" y="26366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7" name="Text Placeholder 6">
            <a:extLst>
              <a:ext uri="{FF2B5EF4-FFF2-40B4-BE49-F238E27FC236}">
                <a16:creationId xmlns:a16="http://schemas.microsoft.com/office/drawing/2014/main" id="{6FD7C259-F4F1-294E-B3F4-5E5936D320F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222508" y="3209606"/>
            <a:ext cx="384623" cy="334099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2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3B66F0FC-35F5-854C-9559-A2664673A09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29406" y="3202588"/>
            <a:ext cx="2628110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9" name="Text Placeholder 4">
            <a:extLst>
              <a:ext uri="{FF2B5EF4-FFF2-40B4-BE49-F238E27FC236}">
                <a16:creationId xmlns:a16="http://schemas.microsoft.com/office/drawing/2014/main" id="{57EB4E2C-A33F-A946-B3FB-7704F3B71E7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7629811" y="3551019"/>
            <a:ext cx="2628110" cy="3931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9921451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6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E819B78F-2807-5245-98EE-F6A82E1A2F1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89496" y="8574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E4633B1D-AC27-E94D-AA0E-9F5B3708B5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50415E8B-755D-B841-826D-006A9869D9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CA47CD7A-DCEA-9B4A-A306-119FACB2F4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E3CD94B0-BCE2-B54F-B93A-64383F7B9C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9496" y="22290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B1765562-A1E1-F14A-9E08-7D21F2BC5B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389496" y="36006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4904B6E2-3755-BA49-B34E-50B16EA2E8E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9496" y="49722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1EEA9482-D32A-1F40-AF1B-6D81BD7A7F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89496" y="6343841"/>
            <a:ext cx="2920758" cy="6538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DB85DB-1B52-0941-93F1-D829144517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2588" y="662798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34A170DD-EBEC-224A-B549-967955987D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82588" y="20447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3A43B0B-CA3B-544A-BB07-1F0E6C9B8F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82588" y="3426780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13530151-C1A5-6E4C-AA66-AC4690EF69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588" y="47879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5EACE6F3-1318-A245-AD4A-807A31CBA78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282588" y="6159589"/>
            <a:ext cx="997805" cy="9197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23567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32" userDrawn="1">
          <p15:clr>
            <a:srgbClr val="FBAE40"/>
          </p15:clr>
        </p15:guide>
        <p15:guide id="2" pos="4698" userDrawn="1">
          <p15:clr>
            <a:srgbClr val="FBAE40"/>
          </p15:clr>
        </p15:guide>
        <p15:guide id="3" orient="horz" pos="528" userDrawn="1">
          <p15:clr>
            <a:srgbClr val="FBAE40"/>
          </p15:clr>
        </p15:guide>
        <p15:guide id="10" orient="horz" pos="960" userDrawn="1">
          <p15:clr>
            <a:srgbClr val="FBAE40"/>
          </p15:clr>
        </p15:guide>
        <p15:guide id="11" orient="horz" pos="1824" userDrawn="1">
          <p15:clr>
            <a:srgbClr val="FBAE40"/>
          </p15:clr>
        </p15:guide>
        <p15:guide id="12" orient="horz" pos="1392" userDrawn="1">
          <p15:clr>
            <a:srgbClr val="FBAE40"/>
          </p15:clr>
        </p15:guide>
        <p15:guide id="13" orient="horz" pos="2256" userDrawn="1">
          <p15:clr>
            <a:srgbClr val="FBAE40"/>
          </p15:clr>
        </p15:guide>
        <p15:guide id="14" orient="horz" pos="2688" userDrawn="1">
          <p15:clr>
            <a:srgbClr val="FBAE40"/>
          </p15:clr>
        </p15:guide>
        <p15:guide id="15" orient="horz" pos="3120" userDrawn="1">
          <p15:clr>
            <a:srgbClr val="FBAE40"/>
          </p15:clr>
        </p15:guide>
        <p15:guide id="16" orient="horz" pos="3552" userDrawn="1">
          <p15:clr>
            <a:srgbClr val="FBAE40"/>
          </p15:clr>
        </p15:guide>
        <p15:guide id="17" orient="horz" pos="3984" userDrawn="1">
          <p15:clr>
            <a:srgbClr val="FBAE40"/>
          </p15:clr>
        </p15:guide>
        <p15:guide id="18" orient="horz" pos="4416" userDrawn="1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28EAB05D-6023-6446-871F-F643EB21D42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70254" y="8121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5" name="Slide Number Placeholder 5">
            <a:extLst>
              <a:ext uri="{FF2B5EF4-FFF2-40B4-BE49-F238E27FC236}">
                <a16:creationId xmlns:a16="http://schemas.microsoft.com/office/drawing/2014/main" id="{F8DC07FD-97E5-F849-914D-DDA379D30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758084B5-043A-364E-9017-9761E12692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9" name="Title 1">
            <a:extLst>
              <a:ext uri="{FF2B5EF4-FFF2-40B4-BE49-F238E27FC236}">
                <a16:creationId xmlns:a16="http://schemas.microsoft.com/office/drawing/2014/main" id="{627CA6C2-022E-7940-AB20-7F6D6EBEEFE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FBF50EC3-1DAF-2A41-A49D-6ECDAE7789F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70254" y="21837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35A0945B-E76F-EC46-BB22-719D2294403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70254" y="3591952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4EFCA974-995E-834E-B32B-39B4D905F2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70254" y="49269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71B36F53-D480-034F-900B-A3132AEAA18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70254" y="62985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78" name="Text Placeholder 4">
            <a:extLst>
              <a:ext uri="{FF2B5EF4-FFF2-40B4-BE49-F238E27FC236}">
                <a16:creationId xmlns:a16="http://schemas.microsoft.com/office/drawing/2014/main" id="{881FD484-AB12-C645-92DC-2AEC6A14E5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5720" y="8121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0" name="Text Placeholder 4">
            <a:extLst>
              <a:ext uri="{FF2B5EF4-FFF2-40B4-BE49-F238E27FC236}">
                <a16:creationId xmlns:a16="http://schemas.microsoft.com/office/drawing/2014/main" id="{925247B1-5841-8B47-ABB6-E3A3383F8F6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655720" y="21837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3CB13209-88F5-E745-9B33-164E9BB2CA9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655720" y="3591952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26C66067-50E5-9843-A3EA-12D8A95E044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655720" y="49269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AFFEDDAB-BD3E-FD47-8C4A-ED8CB817DFD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55720" y="6298576"/>
            <a:ext cx="1959323" cy="49084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D0290E-155D-E042-8C37-BFE5C31CF3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02313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03850412-D5BD-1548-B6F8-95D26F3D2B4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502313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37D55A63-6236-BE40-ABFF-90BF50E865F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502313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7478E59C-481E-784F-8481-4C406642D3E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502313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DF49F66D-3EB4-C649-AA52-C1CE55D9E2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502313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77AFEA5E-3A24-F547-A539-252800FA175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129502" y="70872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54" name="Text Placeholder 5">
            <a:extLst>
              <a:ext uri="{FF2B5EF4-FFF2-40B4-BE49-F238E27FC236}">
                <a16:creationId xmlns:a16="http://schemas.microsoft.com/office/drawing/2014/main" id="{61404EC6-6819-F741-BB8E-B3A4BC39336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129502" y="2101106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C89586CB-F15A-1F4A-9185-9AC4D760D9A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129502" y="3503878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56" name="Text Placeholder 5">
            <a:extLst>
              <a:ext uri="{FF2B5EF4-FFF2-40B4-BE49-F238E27FC236}">
                <a16:creationId xmlns:a16="http://schemas.microsoft.com/office/drawing/2014/main" id="{CBF71C3F-9226-064A-8CCD-B2F930C7F17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129502" y="48339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94A6A3D4-EDAB-5D4D-9BD5-77EDF50FBBF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129502" y="6205514"/>
            <a:ext cx="567941" cy="4953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i="0">
                <a:solidFill>
                  <a:srgbClr val="3369FF"/>
                </a:solidFill>
                <a:latin typeface="IBM Eliot Sans" panose="020B0503050000000000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196949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2" orient="horz" pos="504" userDrawn="1">
          <p15:clr>
            <a:srgbClr val="FBAE40"/>
          </p15:clr>
        </p15:guide>
        <p15:guide id="14" orient="horz" pos="1368" userDrawn="1">
          <p15:clr>
            <a:srgbClr val="FBAE40"/>
          </p15:clr>
        </p15:guide>
        <p15:guide id="16" orient="horz" pos="3000" userDrawn="1">
          <p15:clr>
            <a:srgbClr val="FBAE40"/>
          </p15:clr>
        </p15:guide>
        <p15:guide id="17" orient="horz" pos="3864" userDrawn="1">
          <p15:clr>
            <a:srgbClr val="FBAE40"/>
          </p15:clr>
        </p15:guide>
        <p15:guide id="19" orient="horz" pos="2160" userDrawn="1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1233E17E-5377-C24C-AD2C-39BA429667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75213" y="26841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9E43623-1ADA-7C4F-923F-B58B9AC621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75615" y="30724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394B72A7-E3E8-CC4B-816F-2A1593643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1" name="Footer Placeholder 3">
            <a:extLst>
              <a:ext uri="{FF2B5EF4-FFF2-40B4-BE49-F238E27FC236}">
                <a16:creationId xmlns:a16="http://schemas.microsoft.com/office/drawing/2014/main" id="{6803EFAD-4A5C-C948-9D16-079F72932A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1EEC7578-AE97-504B-991A-7FA2939B953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Next Steps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242DD4E-0A20-B240-8C4D-8BCDA14E68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52852" y="26841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24234E21-09D7-5244-A79E-3EF2C41AF65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461363" y="26841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3B433C64-5662-864A-870D-E0F2479AA8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461765" y="30724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C5D9B63E-206A-3A42-ABB9-F04E60D4BA4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239002" y="26841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136B03FB-33C3-BF4C-BD6F-3A81C31A82C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75213" y="45129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4" name="Text Placeholder 4">
            <a:extLst>
              <a:ext uri="{FF2B5EF4-FFF2-40B4-BE49-F238E27FC236}">
                <a16:creationId xmlns:a16="http://schemas.microsoft.com/office/drawing/2014/main" id="{DDC4BDDB-4701-C141-9543-D26BEB144D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75615" y="49012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1173C913-F578-7342-9BC9-2B905AF7CD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752852" y="45129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55DE7C74-C751-4E43-9361-A930663D3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489469" y="45129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E786A57D-7605-784A-AC6B-BF9BEFC55E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489871" y="49012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09B95635-2B14-0347-8AF2-D0FAD5D48F8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239002" y="45129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1F9206FB-46D1-C640-8F1C-714F8758E1D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975213" y="63417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E6731DF6-8C41-D241-A94C-ADA9924643D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975615" y="67300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A9B41717-A488-8A47-9468-F9BCDA4DA76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52852" y="63417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6F3697DF-F2C0-B74B-8B8E-F5F04C77CEF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461363" y="6341718"/>
            <a:ext cx="296265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010208B9-EBAF-024B-BDBD-B821C46A564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461765" y="6730017"/>
            <a:ext cx="2962655" cy="4520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54CB2744-2AEB-A64E-A434-B328B74315A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239002" y="6341718"/>
            <a:ext cx="239225" cy="3340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853319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08" userDrawn="1">
          <p15:clr>
            <a:srgbClr val="FBAE40"/>
          </p15:clr>
        </p15:guide>
        <p15:guide id="2" orient="horz" pos="2760" userDrawn="1">
          <p15:clr>
            <a:srgbClr val="FBAE40"/>
          </p15:clr>
        </p15:guide>
        <p15:guide id="3" orient="horz" pos="391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55AD4F7-ED39-BB43-889A-9ED2C7F3EB6E}"/>
              </a:ext>
            </a:extLst>
          </p:cNvPr>
          <p:cNvCxnSpPr>
            <a:cxnSpLocks/>
          </p:cNvCxnSpPr>
          <p:nvPr userDrawn="1"/>
        </p:nvCxnSpPr>
        <p:spPr>
          <a:xfrm>
            <a:off x="0" y="4627344"/>
            <a:ext cx="109728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6DC2001-AC0D-3F41-87FE-27FD1320B3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1240" y="36703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653817A-1454-C94E-9048-0C7E15E161FE}"/>
              </a:ext>
            </a:extLst>
          </p:cNvPr>
          <p:cNvCxnSpPr/>
          <p:nvPr userDrawn="1"/>
        </p:nvCxnSpPr>
        <p:spPr>
          <a:xfrm>
            <a:off x="4456395" y="2021304"/>
            <a:ext cx="0" cy="5212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B1F7599-A532-7645-8A8A-F79368E30603}"/>
              </a:ext>
            </a:extLst>
          </p:cNvPr>
          <p:cNvCxnSpPr/>
          <p:nvPr userDrawn="1"/>
        </p:nvCxnSpPr>
        <p:spPr>
          <a:xfrm>
            <a:off x="8030915" y="2021304"/>
            <a:ext cx="0" cy="5212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itle 1">
            <a:extLst>
              <a:ext uri="{FF2B5EF4-FFF2-40B4-BE49-F238E27FC236}">
                <a16:creationId xmlns:a16="http://schemas.microsoft.com/office/drawing/2014/main" id="{FA7C2E4F-5A3D-FE46-B30F-595E936418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35550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C97F4025-1428-E848-AB50-95898C85EE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6A745FEC-0DCE-D347-A303-F04698E051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5E99F75-E396-854D-A64C-EFF76DC40A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06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74C5EE9B-493D-B04D-A576-C96F91A0BBE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0321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705B5911-3B2D-CC4C-874A-11225C04D0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7753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011D8F1D-5590-9C4F-809E-6F6E1528364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518529" y="36576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BA4ADCC-84A0-AE45-8374-C9C0D3F6119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938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991205A-62B3-A64A-88D3-52FA74BEEED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7370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F815BA2-DF20-C347-B889-CB5E7C4A0CE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480234" y="24710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Text Placeholder 4">
            <a:extLst>
              <a:ext uri="{FF2B5EF4-FFF2-40B4-BE49-F238E27FC236}">
                <a16:creationId xmlns:a16="http://schemas.microsoft.com/office/drawing/2014/main" id="{5A7E8000-DC19-1D4F-9A5E-531B5751FC8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271240" y="6159563"/>
            <a:ext cx="2330263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43BB231-9E79-B948-B4DC-6003601A93E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2506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4DAE56D6-9E95-A649-B4C9-07D39FCA897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321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CBA30A8D-AE69-6D4A-901B-2CA3F1353868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753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9B4A676C-3C2C-754D-A494-C95EA23B9A5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518529" y="6146863"/>
            <a:ext cx="2217511" cy="87249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90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 Goes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06D2C611-C7BC-2445-B6E1-D6F2CE80DF8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938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B05ACC63-2749-C44E-AF5C-7AEA316C91A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7370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16AF4496-A798-E14B-B314-8070E237250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480234" y="4960264"/>
            <a:ext cx="990749" cy="99059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2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1604860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62" userDrawn="1">
          <p15:clr>
            <a:srgbClr val="FBAE40"/>
          </p15:clr>
        </p15:guide>
        <p15:guide id="2" pos="3690" userDrawn="1">
          <p15:clr>
            <a:srgbClr val="FBAE40"/>
          </p15:clr>
        </p15:guide>
        <p15:guide id="3" pos="5418" userDrawn="1">
          <p15:clr>
            <a:srgbClr val="FBAE40"/>
          </p15:clr>
        </p15:guide>
        <p15:guide id="4" orient="horz" pos="312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Steps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49F6C18-672B-6D42-AB0F-130596F63BE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1228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AE060BD-0D8D-AC48-B242-3D34AEB41A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26338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E65A059-C9EF-5943-BA43-199F504186F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6741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D959E8D8-29F1-5349-9971-B3AA686A06A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85694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1C7E403-B04F-3848-AA7A-F9B6DFE9E5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Footer Placeholder 3">
            <a:extLst>
              <a:ext uri="{FF2B5EF4-FFF2-40B4-BE49-F238E27FC236}">
                <a16:creationId xmlns:a16="http://schemas.microsoft.com/office/drawing/2014/main" id="{4E65AF74-1A2C-7942-BD65-558510A5D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FC0581F5-3E5A-DA48-881F-B8EFB4BB927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Next Steps</a:t>
            </a:r>
          </a:p>
        </p:txBody>
      </p:sp>
      <p:sp>
        <p:nvSpPr>
          <p:cNvPr id="65" name="Text Placeholder 6">
            <a:extLst>
              <a:ext uri="{FF2B5EF4-FFF2-40B4-BE49-F238E27FC236}">
                <a16:creationId xmlns:a16="http://schemas.microsoft.com/office/drawing/2014/main" id="{965E4C8F-20DC-F14A-B44E-3F7E87F1F1CD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71228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DC419921-BA25-2B4A-9CB5-A793190FC37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26338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1D1A00A-B705-8E43-8323-117F0DB240C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26741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68" name="Text Placeholder 6">
            <a:extLst>
              <a:ext uri="{FF2B5EF4-FFF2-40B4-BE49-F238E27FC236}">
                <a16:creationId xmlns:a16="http://schemas.microsoft.com/office/drawing/2014/main" id="{2D523B49-04C1-A14E-A925-C8DD012D948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1228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EE1E5A43-18B8-1C49-9497-4F8D82728FA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26338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456B82D8-A834-8946-B02E-1F7D9A55D72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426741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1" name="Text Placeholder 6">
            <a:extLst>
              <a:ext uri="{FF2B5EF4-FFF2-40B4-BE49-F238E27FC236}">
                <a16:creationId xmlns:a16="http://schemas.microsoft.com/office/drawing/2014/main" id="{56DA5C01-615A-3643-BC66-AE15D94EDC1D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639663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82" name="Text Placeholder 4">
            <a:extLst>
              <a:ext uri="{FF2B5EF4-FFF2-40B4-BE49-F238E27FC236}">
                <a16:creationId xmlns:a16="http://schemas.microsoft.com/office/drawing/2014/main" id="{25CCAAA3-6015-3F4B-B023-B81444EFE0A8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884835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A5E5A7AE-63E1-784A-87DD-1DE0312E4F9C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85237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6809CFD5-9BE2-8045-BD0C-E698D422FFE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744190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C8957327-30F9-B749-8498-2440755D3C5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39663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6" name="Text Placeholder 4">
            <a:extLst>
              <a:ext uri="{FF2B5EF4-FFF2-40B4-BE49-F238E27FC236}">
                <a16:creationId xmlns:a16="http://schemas.microsoft.com/office/drawing/2014/main" id="{86D19F5B-2AB4-D249-BE7E-FD771DA32010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3884835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87" name="Text Placeholder 4">
            <a:extLst>
              <a:ext uri="{FF2B5EF4-FFF2-40B4-BE49-F238E27FC236}">
                <a16:creationId xmlns:a16="http://schemas.microsoft.com/office/drawing/2014/main" id="{F4EB2C70-48DD-D944-B694-9F7B7CD69C72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3885237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88" name="Text Placeholder 6">
            <a:extLst>
              <a:ext uri="{FF2B5EF4-FFF2-40B4-BE49-F238E27FC236}">
                <a16:creationId xmlns:a16="http://schemas.microsoft.com/office/drawing/2014/main" id="{64897C1A-999F-9D4B-A596-4F9CAACDD009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639663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8D397C40-4DC5-4445-B464-53C3CB07C93F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3884835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0" name="Text Placeholder 4">
            <a:extLst>
              <a:ext uri="{FF2B5EF4-FFF2-40B4-BE49-F238E27FC236}">
                <a16:creationId xmlns:a16="http://schemas.microsoft.com/office/drawing/2014/main" id="{2113D492-3C03-3645-A76F-9EEF73E411BD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3885237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94" name="Text Placeholder 6">
            <a:extLst>
              <a:ext uri="{FF2B5EF4-FFF2-40B4-BE49-F238E27FC236}">
                <a16:creationId xmlns:a16="http://schemas.microsoft.com/office/drawing/2014/main" id="{D2FC71B6-5562-404E-B4B3-00BEDAA72AAF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7125090" y="3595483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5" name="Text Placeholder 4">
            <a:extLst>
              <a:ext uri="{FF2B5EF4-FFF2-40B4-BE49-F238E27FC236}">
                <a16:creationId xmlns:a16="http://schemas.microsoft.com/office/drawing/2014/main" id="{D0DB6E01-C880-7341-8958-191BE9B1D831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380202" y="3600246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A5643017-2779-164D-98A0-86FBA4A1A746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380605" y="3886322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97" name="Text Placeholder 4">
            <a:extLst>
              <a:ext uri="{FF2B5EF4-FFF2-40B4-BE49-F238E27FC236}">
                <a16:creationId xmlns:a16="http://schemas.microsoft.com/office/drawing/2014/main" id="{0BDBF304-9ADB-074D-AFB5-3D74DEF99471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239559" y="2873315"/>
            <a:ext cx="974708" cy="3156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Headline</a:t>
            </a:r>
          </a:p>
        </p:txBody>
      </p:sp>
      <p:sp>
        <p:nvSpPr>
          <p:cNvPr id="98" name="Text Placeholder 6">
            <a:extLst>
              <a:ext uri="{FF2B5EF4-FFF2-40B4-BE49-F238E27FC236}">
                <a16:creationId xmlns:a16="http://schemas.microsoft.com/office/drawing/2014/main" id="{39444EB5-1948-0849-9BC7-58738B235998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7125090" y="4372232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99" name="Text Placeholder 4">
            <a:extLst>
              <a:ext uri="{FF2B5EF4-FFF2-40B4-BE49-F238E27FC236}">
                <a16:creationId xmlns:a16="http://schemas.microsoft.com/office/drawing/2014/main" id="{8BCF6EE2-7E27-6E45-AF82-5B17571C4699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380202" y="4376995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0" name="Text Placeholder 4">
            <a:extLst>
              <a:ext uri="{FF2B5EF4-FFF2-40B4-BE49-F238E27FC236}">
                <a16:creationId xmlns:a16="http://schemas.microsoft.com/office/drawing/2014/main" id="{15770356-D330-744A-90AC-0ACD21FF99F1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380605" y="4663071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  <p:sp>
        <p:nvSpPr>
          <p:cNvPr id="101" name="Text Placeholder 6">
            <a:extLst>
              <a:ext uri="{FF2B5EF4-FFF2-40B4-BE49-F238E27FC236}">
                <a16:creationId xmlns:a16="http://schemas.microsoft.com/office/drawing/2014/main" id="{397FDE7A-50BE-F845-B7E5-28121B8F2C21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7125090" y="5129315"/>
            <a:ext cx="331636" cy="392431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02" name="Text Placeholder 4">
            <a:extLst>
              <a:ext uri="{FF2B5EF4-FFF2-40B4-BE49-F238E27FC236}">
                <a16:creationId xmlns:a16="http://schemas.microsoft.com/office/drawing/2014/main" id="{A60858A7-F957-354C-A57C-6D17B5A8F2D1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7380202" y="5134078"/>
            <a:ext cx="2715517" cy="2543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3" name="Text Placeholder 4">
            <a:extLst>
              <a:ext uri="{FF2B5EF4-FFF2-40B4-BE49-F238E27FC236}">
                <a16:creationId xmlns:a16="http://schemas.microsoft.com/office/drawing/2014/main" id="{AA3D5DC1-FBB5-9342-A859-51F4F92639D4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380605" y="5420154"/>
            <a:ext cx="2715517" cy="39243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5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/>
            </a:lvl2pPr>
            <a:lvl3pPr marL="822878" indent="0">
              <a:buNone/>
              <a:defRPr/>
            </a:lvl3pPr>
            <a:lvl4pPr marL="1234319" indent="0">
              <a:buNone/>
              <a:defRPr/>
            </a:lvl4pPr>
            <a:lvl5pPr marL="1645756" indent="0">
              <a:buNone/>
              <a:defRPr/>
            </a:lvl5pPr>
          </a:lstStyle>
          <a:p>
            <a:pPr lvl="0"/>
            <a:r>
              <a:rPr lang="en-US" dirty="0"/>
              <a:t>Subtitle Content Here</a:t>
            </a:r>
          </a:p>
        </p:txBody>
      </p:sp>
    </p:spTree>
    <p:extLst>
      <p:ext uri="{BB962C8B-B14F-4D97-AF65-F5344CB8AC3E}">
        <p14:creationId xmlns:p14="http://schemas.microsoft.com/office/powerpoint/2010/main" val="14084528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8" userDrawn="1">
          <p15:clr>
            <a:srgbClr val="FBAE40"/>
          </p15:clr>
        </p15:guide>
        <p15:guide id="2" orient="horz" pos="1920" userDrawn="1">
          <p15:clr>
            <a:srgbClr val="FBAE40"/>
          </p15:clr>
        </p15:guide>
        <p15:guide id="3" orient="horz" pos="2304" userDrawn="1">
          <p15:clr>
            <a:srgbClr val="FBAE40"/>
          </p15:clr>
        </p15:guide>
        <p15:guide id="4" orient="horz" pos="2784" userDrawn="1">
          <p15:clr>
            <a:srgbClr val="FBAE40"/>
          </p15:clr>
        </p15:guide>
        <p15:guide id="5" orient="horz" pos="3264" userDrawn="1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04949F9-5C16-D948-BC73-F6925A668F95}"/>
              </a:ext>
            </a:extLst>
          </p:cNvPr>
          <p:cNvCxnSpPr>
            <a:cxnSpLocks/>
          </p:cNvCxnSpPr>
          <p:nvPr userDrawn="1"/>
        </p:nvCxnSpPr>
        <p:spPr>
          <a:xfrm flipV="1">
            <a:off x="475112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06D1E39-48CB-8244-A02E-DAF14DEB8FC0}"/>
              </a:ext>
            </a:extLst>
          </p:cNvPr>
          <p:cNvCxnSpPr>
            <a:cxnSpLocks/>
          </p:cNvCxnSpPr>
          <p:nvPr userDrawn="1"/>
        </p:nvCxnSpPr>
        <p:spPr>
          <a:xfrm flipV="1">
            <a:off x="742379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71E1E964-BB35-C14B-A64D-4257241E811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1989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0BFFCA26-434C-CE4E-A257-6806FE4B47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5053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41C953F-B03B-6646-AB55-F7BF6F3A3264}"/>
              </a:ext>
            </a:extLst>
          </p:cNvPr>
          <p:cNvSpPr/>
          <p:nvPr userDrawn="1"/>
        </p:nvSpPr>
        <p:spPr>
          <a:xfrm>
            <a:off x="342902" y="3770771"/>
            <a:ext cx="10302057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F26B1D1D-E92C-1D4B-ACAF-EB15342A29BC}"/>
              </a:ext>
            </a:extLst>
          </p:cNvPr>
          <p:cNvSpPr>
            <a:spLocks noChangeAspect="1"/>
          </p:cNvSpPr>
          <p:nvPr userDrawn="1"/>
        </p:nvSpPr>
        <p:spPr>
          <a:xfrm>
            <a:off x="380628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D8C676B9-4875-244A-8656-0AEF21A85369}"/>
              </a:ext>
            </a:extLst>
          </p:cNvPr>
          <p:cNvCxnSpPr>
            <a:cxnSpLocks/>
          </p:cNvCxnSpPr>
          <p:nvPr userDrawn="1"/>
        </p:nvCxnSpPr>
        <p:spPr>
          <a:xfrm flipV="1">
            <a:off x="1922863" y="3086105"/>
            <a:ext cx="0" cy="81250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C0992D0-9D94-FE43-9FF9-C15BA40AC4E1}"/>
              </a:ext>
            </a:extLst>
          </p:cNvPr>
          <p:cNvCxnSpPr>
            <a:cxnSpLocks/>
          </p:cNvCxnSpPr>
          <p:nvPr userDrawn="1"/>
        </p:nvCxnSpPr>
        <p:spPr>
          <a:xfrm flipH="1">
            <a:off x="488581" y="4052776"/>
            <a:ext cx="3155" cy="671624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AA4926A-FE88-5343-9825-033975560D10}"/>
              </a:ext>
            </a:extLst>
          </p:cNvPr>
          <p:cNvCxnSpPr>
            <a:cxnSpLocks/>
          </p:cNvCxnSpPr>
          <p:nvPr userDrawn="1"/>
        </p:nvCxnSpPr>
        <p:spPr>
          <a:xfrm flipH="1">
            <a:off x="3309340" y="4052776"/>
            <a:ext cx="2810" cy="671624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A5B14E9-673D-8748-8CBB-1D150B6054D1}"/>
              </a:ext>
            </a:extLst>
          </p:cNvPr>
          <p:cNvCxnSpPr>
            <a:cxnSpLocks/>
          </p:cNvCxnSpPr>
          <p:nvPr userDrawn="1"/>
        </p:nvCxnSpPr>
        <p:spPr>
          <a:xfrm>
            <a:off x="6175886" y="3898610"/>
            <a:ext cx="0" cy="82579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026C9E-393D-004E-8ABE-7B5F64C3B378}"/>
              </a:ext>
            </a:extLst>
          </p:cNvPr>
          <p:cNvCxnSpPr>
            <a:cxnSpLocks/>
          </p:cNvCxnSpPr>
          <p:nvPr userDrawn="1"/>
        </p:nvCxnSpPr>
        <p:spPr>
          <a:xfrm>
            <a:off x="8729275" y="3898610"/>
            <a:ext cx="0" cy="825795"/>
          </a:xfrm>
          <a:prstGeom prst="line">
            <a:avLst/>
          </a:prstGeom>
          <a:ln w="9525" cap="flat" cmpd="sng" algn="ctr">
            <a:solidFill>
              <a:srgbClr val="002677"/>
            </a:solidFill>
            <a:prstDash val="solid"/>
            <a:round/>
            <a:headEnd type="none" w="med" len="med"/>
            <a:tailEnd type="oval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Slide Number Placeholder 5">
            <a:extLst>
              <a:ext uri="{FF2B5EF4-FFF2-40B4-BE49-F238E27FC236}">
                <a16:creationId xmlns:a16="http://schemas.microsoft.com/office/drawing/2014/main" id="{F876BA71-DB75-D143-9D78-E4418F55A4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Footer Placeholder 3">
            <a:extLst>
              <a:ext uri="{FF2B5EF4-FFF2-40B4-BE49-F238E27FC236}">
                <a16:creationId xmlns:a16="http://schemas.microsoft.com/office/drawing/2014/main" id="{F3414ABB-41DD-C349-9DD9-A378E75F15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3A0AD528-8BA5-4745-83BE-4E8596B1262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70" name="Text Placeholder 10">
            <a:extLst>
              <a:ext uri="{FF2B5EF4-FFF2-40B4-BE49-F238E27FC236}">
                <a16:creationId xmlns:a16="http://schemas.microsoft.com/office/drawing/2014/main" id="{EDA40E52-AB06-4443-80A9-C39069B6BB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7727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71" name="Text Placeholder 17">
            <a:extLst>
              <a:ext uri="{FF2B5EF4-FFF2-40B4-BE49-F238E27FC236}">
                <a16:creationId xmlns:a16="http://schemas.microsoft.com/office/drawing/2014/main" id="{FABF79A3-EBA3-A242-A87F-1CDB425F100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80791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80" name="Text Placeholder 10">
            <a:extLst>
              <a:ext uri="{FF2B5EF4-FFF2-40B4-BE49-F238E27FC236}">
                <a16:creationId xmlns:a16="http://schemas.microsoft.com/office/drawing/2014/main" id="{E5A97EB3-CB01-9B47-93D7-7E36048049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64341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A95A14F7-38FE-8543-8DB1-37012A60149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87408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2" name="Text Placeholder 10">
            <a:extLst>
              <a:ext uri="{FF2B5EF4-FFF2-40B4-BE49-F238E27FC236}">
                <a16:creationId xmlns:a16="http://schemas.microsoft.com/office/drawing/2014/main" id="{CEFF965D-181D-F644-AFEE-6980A9931E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3756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042AF19-B4A7-FB4C-A07D-68BB76B2F4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6823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84" name="Text Placeholder 10">
            <a:extLst>
              <a:ext uri="{FF2B5EF4-FFF2-40B4-BE49-F238E27FC236}">
                <a16:creationId xmlns:a16="http://schemas.microsoft.com/office/drawing/2014/main" id="{CBFC5376-560E-D041-BD45-F5ADBFD1A2F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44555" y="2683532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5CA867F4-5F30-9744-AB97-BB45337E55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67622" y="2683532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86" name="Text Placeholder 10">
            <a:extLst>
              <a:ext uri="{FF2B5EF4-FFF2-40B4-BE49-F238E27FC236}">
                <a16:creationId xmlns:a16="http://schemas.microsoft.com/office/drawing/2014/main" id="{E88768E5-50B0-CA4E-BC1C-329BBA48E3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23852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87" name="Text Placeholder 17">
            <a:extLst>
              <a:ext uri="{FF2B5EF4-FFF2-40B4-BE49-F238E27FC236}">
                <a16:creationId xmlns:a16="http://schemas.microsoft.com/office/drawing/2014/main" id="{4A5C5E22-88C9-5548-8A7D-64A398F4A8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46919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89" name="Text Placeholder 10">
            <a:extLst>
              <a:ext uri="{FF2B5EF4-FFF2-40B4-BE49-F238E27FC236}">
                <a16:creationId xmlns:a16="http://schemas.microsoft.com/office/drawing/2014/main" id="{FD9B511B-820B-D044-BD30-96B0BC717A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76189" y="4927431"/>
            <a:ext cx="1846472" cy="6639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90" name="Text Placeholder 17">
            <a:extLst>
              <a:ext uri="{FF2B5EF4-FFF2-40B4-BE49-F238E27FC236}">
                <a16:creationId xmlns:a16="http://schemas.microsoft.com/office/drawing/2014/main" id="{580CCF4D-777C-E94B-8FCB-750BEEE7602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99256" y="4927431"/>
            <a:ext cx="351518" cy="33349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71D9E360-840C-C14E-9E34-91B52C55EB8E}"/>
              </a:ext>
            </a:extLst>
          </p:cNvPr>
          <p:cNvSpPr>
            <a:spLocks noChangeAspect="1"/>
          </p:cNvSpPr>
          <p:nvPr userDrawn="1"/>
        </p:nvSpPr>
        <p:spPr>
          <a:xfrm>
            <a:off x="181333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3D190410-9AAD-414A-9592-A1812AA459ED}"/>
              </a:ext>
            </a:extLst>
          </p:cNvPr>
          <p:cNvSpPr>
            <a:spLocks noChangeAspect="1"/>
          </p:cNvSpPr>
          <p:nvPr userDrawn="1"/>
        </p:nvSpPr>
        <p:spPr>
          <a:xfrm>
            <a:off x="3201216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F7F85F4E-C6D0-054E-B77C-C539A61F98F8}"/>
              </a:ext>
            </a:extLst>
          </p:cNvPr>
          <p:cNvSpPr>
            <a:spLocks noChangeAspect="1"/>
          </p:cNvSpPr>
          <p:nvPr userDrawn="1"/>
        </p:nvSpPr>
        <p:spPr>
          <a:xfrm>
            <a:off x="464159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12AEBB64-3484-1C41-A0D9-3B06C5A2E958}"/>
              </a:ext>
            </a:extLst>
          </p:cNvPr>
          <p:cNvSpPr>
            <a:spLocks noChangeAspect="1"/>
          </p:cNvSpPr>
          <p:nvPr userDrawn="1"/>
        </p:nvSpPr>
        <p:spPr>
          <a:xfrm>
            <a:off x="6066357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14D986E9-B2C4-9842-80E7-2623847DED17}"/>
              </a:ext>
            </a:extLst>
          </p:cNvPr>
          <p:cNvSpPr>
            <a:spLocks noChangeAspect="1"/>
          </p:cNvSpPr>
          <p:nvPr userDrawn="1"/>
        </p:nvSpPr>
        <p:spPr>
          <a:xfrm>
            <a:off x="7314264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0B385FB9-DF96-5F48-A3C0-6D2C693FE84F}"/>
              </a:ext>
            </a:extLst>
          </p:cNvPr>
          <p:cNvSpPr>
            <a:spLocks noChangeAspect="1"/>
          </p:cNvSpPr>
          <p:nvPr userDrawn="1"/>
        </p:nvSpPr>
        <p:spPr>
          <a:xfrm>
            <a:off x="8619747" y="3760704"/>
            <a:ext cx="219058" cy="292077"/>
          </a:xfrm>
          <a:prstGeom prst="ellipse">
            <a:avLst/>
          </a:prstGeom>
          <a:solidFill>
            <a:srgbClr val="3369FF"/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4820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728" userDrawn="1">
          <p15:clr>
            <a:srgbClr val="FBAE40"/>
          </p15:clr>
        </p15:guide>
        <p15:guide id="5" orient="horz" pos="3360" userDrawn="1">
          <p15:clr>
            <a:srgbClr val="FBAE40"/>
          </p15:clr>
        </p15:guide>
        <p15:guide id="6" orient="horz" pos="3096" userDrawn="1">
          <p15:clr>
            <a:srgbClr val="FBAE40"/>
          </p15:clr>
        </p15:guide>
        <p15:guide id="7" pos="1206" userDrawn="1">
          <p15:clr>
            <a:srgbClr val="FBAE40"/>
          </p15:clr>
        </p15:guide>
        <p15:guide id="8" pos="2088" userDrawn="1">
          <p15:clr>
            <a:srgbClr val="FBAE40"/>
          </p15:clr>
        </p15:guide>
        <p15:guide id="9" pos="2988" userDrawn="1">
          <p15:clr>
            <a:srgbClr val="FBAE40"/>
          </p15:clr>
        </p15:guide>
        <p15:guide id="10" pos="306" userDrawn="1">
          <p15:clr>
            <a:srgbClr val="FBAE40"/>
          </p15:clr>
        </p15:guide>
        <p15:guide id="11" pos="3888" userDrawn="1">
          <p15:clr>
            <a:srgbClr val="FBAE40"/>
          </p15:clr>
        </p15:guide>
        <p15:guide id="12" pos="4770" userDrawn="1">
          <p15:clr>
            <a:srgbClr val="FBAE40"/>
          </p15:clr>
        </p15:guide>
        <p15:guide id="13" orient="horz" pos="2376" userDrawn="1">
          <p15:clr>
            <a:srgbClr val="FBAE40"/>
          </p15:clr>
        </p15:guide>
        <p15:guide id="14" orient="horz" pos="1920" userDrawn="1">
          <p15:clr>
            <a:srgbClr val="FBAE40"/>
          </p15:clr>
        </p15:guide>
        <p15:guide id="15" orient="horz" pos="3000" userDrawn="1">
          <p15:clr>
            <a:srgbClr val="FBAE40"/>
          </p15:clr>
        </p15:guide>
        <p15:guide id="17" pos="5670" userDrawn="1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4B62D430-3622-F944-8030-6A8F1702A9AA}"/>
              </a:ext>
            </a:extLst>
          </p:cNvPr>
          <p:cNvSpPr/>
          <p:nvPr userDrawn="1"/>
        </p:nvSpPr>
        <p:spPr>
          <a:xfrm>
            <a:off x="342902" y="3772557"/>
            <a:ext cx="10302057" cy="271936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66E90B9-8C95-6343-825C-E62C17A9121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95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2F36EC5D-3297-5A42-828A-45B71BD1AF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7954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A6340B-A70E-6F40-BE52-18428924722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955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6C1D83D-A1B9-DE45-8FA3-F7858C2331AD}"/>
              </a:ext>
            </a:extLst>
          </p:cNvPr>
          <p:cNvGrpSpPr/>
          <p:nvPr userDrawn="1"/>
        </p:nvGrpSpPr>
        <p:grpSpPr>
          <a:xfrm>
            <a:off x="2941690" y="3742365"/>
            <a:ext cx="129092" cy="332320"/>
            <a:chOff x="3237268" y="2942083"/>
            <a:chExt cx="192553" cy="371766"/>
          </a:xfrm>
        </p:grpSpPr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3CF5AED-830E-1048-8ACE-5F69D17C6FEB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EF813389-9B03-514C-AE4E-465F459D64E9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BEA43C26-B1EF-6648-9CC6-CFB1FA8692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329031D6-4137-624A-BE65-3322D8DA9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EC2414C1-54C0-C94B-9BC0-67C132C49A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Timelin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54A16AA9-D999-6340-B30C-C3FF62A850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034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45" name="Text Placeholder 17">
            <a:extLst>
              <a:ext uri="{FF2B5EF4-FFF2-40B4-BE49-F238E27FC236}">
                <a16:creationId xmlns:a16="http://schemas.microsoft.com/office/drawing/2014/main" id="{CC22A516-DCEB-E14E-A7DC-5023D339FB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7034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BF80794-4F55-3D45-80B7-D1BBC0FAE2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035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05576ED1-0F9A-C64C-9C33-80A46C39B4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480197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1B62556C-5980-2147-816C-750E70BD0BF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480197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E552DAF1-DF41-5A48-97D1-23DF191BAC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480206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273E1958-B8AA-5346-8CD5-CB0E6A3D65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23372" y="4712567"/>
            <a:ext cx="1983458" cy="585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35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marL="0" marR="0" lvl="0" indent="0" algn="l" defTabSz="822878" rtl="0" eaLnBrk="1" fontAlgn="auto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Key Timeline or Milestone Title Here</a:t>
            </a:r>
          </a:p>
        </p:txBody>
      </p:sp>
      <p:sp>
        <p:nvSpPr>
          <p:cNvPr id="51" name="Text Placeholder 17">
            <a:extLst>
              <a:ext uri="{FF2B5EF4-FFF2-40B4-BE49-F238E27FC236}">
                <a16:creationId xmlns:a16="http://schemas.microsoft.com/office/drawing/2014/main" id="{3C3ABA36-8BC4-F84B-BA4A-7B8469D974C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3372" y="4409641"/>
            <a:ext cx="1793102" cy="2451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Month 00 20XX</a:t>
            </a: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47146BB8-C634-B04A-A59D-E158C3D07A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23381" y="5431076"/>
            <a:ext cx="2250167" cy="1884129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  <a:lvl2pPr marL="411440" indent="0">
              <a:buNone/>
              <a:defRPr sz="1440">
                <a:latin typeface="Helvetica" pitchFamily="2" charset="0"/>
              </a:defRPr>
            </a:lvl2pPr>
            <a:lvl3pPr marL="822878" indent="0">
              <a:buNone/>
              <a:defRPr sz="1440">
                <a:latin typeface="Helvetica" pitchFamily="2" charset="0"/>
              </a:defRPr>
            </a:lvl3pPr>
            <a:lvl4pPr marL="1234319" indent="0">
              <a:buNone/>
              <a:defRPr sz="1440">
                <a:latin typeface="Helvetica" pitchFamily="2" charset="0"/>
              </a:defRPr>
            </a:lvl4pPr>
            <a:lvl5pPr marL="1645756" indent="0">
              <a:buNone/>
              <a:defRPr sz="1440">
                <a:latin typeface="Helvetica" pitchFamily="2" charset="0"/>
              </a:defRPr>
            </a:lvl5pPr>
          </a:lstStyle>
          <a:p>
            <a:pPr lvl="0"/>
            <a:r>
              <a:rPr lang="en-US" dirty="0"/>
              <a:t>Tur solute </a:t>
            </a:r>
            <a:r>
              <a:rPr lang="en-US" dirty="0" err="1"/>
              <a:t>haruntor</a:t>
            </a:r>
            <a:r>
              <a:rPr lang="en-US" dirty="0"/>
              <a:t> </a:t>
            </a:r>
            <a:r>
              <a:rPr lang="en-US" dirty="0" err="1"/>
              <a:t>saessequist</a:t>
            </a:r>
            <a:r>
              <a:rPr lang="en-US" dirty="0"/>
              <a:t>, </a:t>
            </a:r>
            <a:r>
              <a:rPr lang="en-US" dirty="0" err="1"/>
              <a:t>officiae</a:t>
            </a:r>
            <a:r>
              <a:rPr lang="en-US" dirty="0"/>
              <a:t> </a:t>
            </a:r>
            <a:r>
              <a:rPr lang="en-US" dirty="0" err="1"/>
              <a:t>suntem</a:t>
            </a:r>
            <a:r>
              <a:rPr lang="en-US" dirty="0"/>
              <a:t> </a:t>
            </a:r>
            <a:r>
              <a:rPr lang="en-US" dirty="0" err="1"/>
              <a:t>experia</a:t>
            </a:r>
            <a:r>
              <a:rPr lang="en-US" dirty="0"/>
              <a:t> que </a:t>
            </a:r>
            <a:r>
              <a:rPr lang="en-US" dirty="0" err="1"/>
              <a:t>pratibus</a:t>
            </a:r>
            <a:r>
              <a:rPr lang="en-US" dirty="0"/>
              <a:t>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fuga</a:t>
            </a:r>
            <a:endParaRPr lang="en-US" dirty="0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D94545F-B896-DA4A-9C9E-67D1A40FFFB8}"/>
              </a:ext>
            </a:extLst>
          </p:cNvPr>
          <p:cNvGrpSpPr/>
          <p:nvPr userDrawn="1"/>
        </p:nvGrpSpPr>
        <p:grpSpPr>
          <a:xfrm>
            <a:off x="5546197" y="3742365"/>
            <a:ext cx="129092" cy="332320"/>
            <a:chOff x="3237268" y="2942083"/>
            <a:chExt cx="192553" cy="371766"/>
          </a:xfrm>
        </p:grpSpPr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5CE0664B-4083-3E4F-859C-FA8AB2062871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20213AF2-CE79-F14F-9B5F-30325124201A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1D054C1-A28A-6C40-8DA9-AF4BD32A9B4B}"/>
              </a:ext>
            </a:extLst>
          </p:cNvPr>
          <p:cNvGrpSpPr/>
          <p:nvPr userDrawn="1"/>
        </p:nvGrpSpPr>
        <p:grpSpPr>
          <a:xfrm>
            <a:off x="8074504" y="3742365"/>
            <a:ext cx="129092" cy="332320"/>
            <a:chOff x="3237268" y="2942083"/>
            <a:chExt cx="192553" cy="371766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3C317751-A226-4B4F-964E-EA37D4EF133D}"/>
                </a:ext>
              </a:extLst>
            </p:cNvPr>
            <p:cNvCxnSpPr/>
            <p:nvPr userDrawn="1"/>
          </p:nvCxnSpPr>
          <p:spPr>
            <a:xfrm flipH="1" flipV="1">
              <a:off x="3237268" y="2942083"/>
              <a:ext cx="192553" cy="192553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B42E7E1-2968-604F-8D00-DA7500C3B365}"/>
                </a:ext>
              </a:extLst>
            </p:cNvPr>
            <p:cNvCxnSpPr/>
            <p:nvPr userDrawn="1"/>
          </p:nvCxnSpPr>
          <p:spPr>
            <a:xfrm flipH="1">
              <a:off x="3237268" y="3121825"/>
              <a:ext cx="192024" cy="192024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2606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  <p15:guide id="2" orient="horz" pos="3000" userDrawn="1">
          <p15:clr>
            <a:srgbClr val="FBAE40"/>
          </p15:clr>
        </p15:guide>
        <p15:guide id="3" pos="1854" userDrawn="1">
          <p15:clr>
            <a:srgbClr val="FBAE40"/>
          </p15:clr>
        </p15:guide>
        <p15:guide id="4" pos="3492" userDrawn="1">
          <p15:clr>
            <a:srgbClr val="FBAE40"/>
          </p15:clr>
        </p15:guide>
        <p15:guide id="5" pos="5094" userDrawn="1">
          <p15:clr>
            <a:srgbClr val="FBAE40"/>
          </p15:clr>
        </p15:guide>
        <p15:guide id="6" orient="horz" pos="2592" userDrawn="1">
          <p15:clr>
            <a:srgbClr val="FBAE40"/>
          </p15:clr>
        </p15:guide>
        <p15:guide id="7" orient="horz" pos="3288" userDrawn="1">
          <p15:clr>
            <a:srgbClr val="FBAE40"/>
          </p15:clr>
        </p15:guide>
        <p15:guide id="8" orient="horz" pos="3456" userDrawn="1">
          <p15:clr>
            <a:srgbClr val="FBAE40"/>
          </p15:clr>
        </p15:guide>
        <p15:guide id="9" orient="horz" pos="2448" userDrawn="1">
          <p15:clr>
            <a:srgbClr val="FBAE40"/>
          </p15:clr>
        </p15:guide>
        <p15:guide id="10" orient="horz" pos="2472" userDrawn="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slide_WT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10360E9-0E7D-2342-86B3-B6103E5F4A4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69861" y="2219018"/>
            <a:ext cx="3844898" cy="3302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33941D08-856F-1645-9A80-4ABD38A759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69861" y="2600112"/>
            <a:ext cx="3844898" cy="3336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7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379B1774-930E-394D-930F-D92245CA445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349" y="2180916"/>
            <a:ext cx="2050488" cy="2733984"/>
          </a:xfrm>
          <a:prstGeom prst="ellipse">
            <a:avLst/>
          </a:prstGeom>
          <a:ln>
            <a:noFill/>
          </a:ln>
        </p:spPr>
        <p:txBody>
          <a:bodyPr/>
          <a:lstStyle>
            <a:lvl1pPr>
              <a:defRPr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69C97095-39B7-954A-9DB4-39FA2B874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67DC740-58D2-1947-AC56-556FB31257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B313EF-A9DF-5E40-85D3-C09A19734CE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Biograph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6A6BBD3-2C50-E348-A08B-40C111DA31E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69408" y="3390900"/>
            <a:ext cx="5217319" cy="39243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spcBef>
                <a:spcPts val="0"/>
              </a:spcBef>
              <a:buNone/>
              <a:defRPr lang="en-US" sz="1200" smtClean="0"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re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g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 Ut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qu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isq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at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s mod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r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pelic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ffic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i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nulp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quid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u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l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ilige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tior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h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ate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ess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restionsequ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cone ni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ducip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stion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ecturit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di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ucim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facc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sim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pit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 abo. </a:t>
            </a:r>
          </a:p>
          <a:p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elendeb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atqu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 es n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orestin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ce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risim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nemo 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i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s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id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psus</a:t>
            </a: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endiassi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oluptibus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un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isitioremod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a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un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dolore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onsequia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vent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ib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oluptat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iate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? T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sum 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provi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nde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cones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lignatia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riosaped</a:t>
            </a:r>
            <a:endParaRPr lang="en-US" dirty="0">
              <a:solidFill>
                <a:srgbClr val="002677"/>
              </a:solidFill>
              <a:effectLst/>
              <a:latin typeface="Segoe UI" panose="020B0502040204020203" pitchFamily="34" charset="0"/>
            </a:endParaRPr>
          </a:p>
          <a:p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lparu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ctio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t, que nonet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od quo</a:t>
            </a:r>
          </a:p>
          <a:p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 pa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erate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magn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aut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vendi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sanihil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42409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  <p15:guide id="2" orient="horz" pos="1824" userDrawn="1">
          <p15:clr>
            <a:srgbClr val="FBAE40"/>
          </p15:clr>
        </p15:guide>
        <p15:guide id="3" orient="horz" pos="2136" userDrawn="1">
          <p15:clr>
            <a:srgbClr val="FBAE40"/>
          </p15:clr>
        </p15:guide>
        <p15:guide id="6" pos="1512" userDrawn="1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7">
            <a:extLst>
              <a:ext uri="{FF2B5EF4-FFF2-40B4-BE49-F238E27FC236}">
                <a16:creationId xmlns:a16="http://schemas.microsoft.com/office/drawing/2014/main" id="{1A11D87E-9102-8041-A545-614E56DC9B8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9295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17">
            <a:extLst>
              <a:ext uri="{FF2B5EF4-FFF2-40B4-BE49-F238E27FC236}">
                <a16:creationId xmlns:a16="http://schemas.microsoft.com/office/drawing/2014/main" id="{708AF069-4AAF-8F4F-895F-5193037975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59295" y="2722255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" name="Picture Placeholder 5">
            <a:extLst>
              <a:ext uri="{FF2B5EF4-FFF2-40B4-BE49-F238E27FC236}">
                <a16:creationId xmlns:a16="http://schemas.microsoft.com/office/drawing/2014/main" id="{2398D9EA-831F-1645-8FD6-80930C3F5C3C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59476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2" name="Slide Number Placeholder 5">
            <a:extLst>
              <a:ext uri="{FF2B5EF4-FFF2-40B4-BE49-F238E27FC236}">
                <a16:creationId xmlns:a16="http://schemas.microsoft.com/office/drawing/2014/main" id="{5CA9C212-569D-2C4A-BD04-762202906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3" name="Footer Placeholder 3">
            <a:extLst>
              <a:ext uri="{FF2B5EF4-FFF2-40B4-BE49-F238E27FC236}">
                <a16:creationId xmlns:a16="http://schemas.microsoft.com/office/drawing/2014/main" id="{4C8B73F2-4891-2D4E-A20B-85B3FC6060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282736A-63F0-2C4E-A20E-A06DC79A5B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73650" y="400487"/>
            <a:ext cx="4184053" cy="57583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Our Team</a:t>
            </a:r>
          </a:p>
        </p:txBody>
      </p:sp>
      <p:sp>
        <p:nvSpPr>
          <p:cNvPr id="48" name="Text Placeholder 17">
            <a:extLst>
              <a:ext uri="{FF2B5EF4-FFF2-40B4-BE49-F238E27FC236}">
                <a16:creationId xmlns:a16="http://schemas.microsoft.com/office/drawing/2014/main" id="{B884D121-85EE-F749-8D5B-A87A9656373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64611" y="304674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82" name="Text Placeholder 17">
            <a:extLst>
              <a:ext uri="{FF2B5EF4-FFF2-40B4-BE49-F238E27FC236}">
                <a16:creationId xmlns:a16="http://schemas.microsoft.com/office/drawing/2014/main" id="{F258A286-0285-2446-A5E2-62AADD26514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4814876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3" name="Text Placeholder 17">
            <a:extLst>
              <a:ext uri="{FF2B5EF4-FFF2-40B4-BE49-F238E27FC236}">
                <a16:creationId xmlns:a16="http://schemas.microsoft.com/office/drawing/2014/main" id="{79863B9A-3E47-C74F-971E-887289AF0E3E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4814876" y="2722255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84" name="Picture Placeholder 5">
            <a:extLst>
              <a:ext uri="{FF2B5EF4-FFF2-40B4-BE49-F238E27FC236}">
                <a16:creationId xmlns:a16="http://schemas.microsoft.com/office/drawing/2014/main" id="{7BB40C8F-E9CF-3445-A5E4-4882FDCA7B55}"/>
              </a:ext>
            </a:extLst>
          </p:cNvPr>
          <p:cNvSpPr>
            <a:spLocks noGrp="1" noChangeAspect="1"/>
          </p:cNvSpPr>
          <p:nvPr>
            <p:ph type="pic" sz="quarter" idx="60"/>
          </p:nvPr>
        </p:nvSpPr>
        <p:spPr>
          <a:xfrm>
            <a:off x="381505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5" name="Text Placeholder 17">
            <a:extLst>
              <a:ext uri="{FF2B5EF4-FFF2-40B4-BE49-F238E27FC236}">
                <a16:creationId xmlns:a16="http://schemas.microsoft.com/office/drawing/2014/main" id="{73A3EEB5-64CB-DE4A-BC4A-03470206011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820192" y="304659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96" name="Text Placeholder 17">
            <a:extLst>
              <a:ext uri="{FF2B5EF4-FFF2-40B4-BE49-F238E27FC236}">
                <a16:creationId xmlns:a16="http://schemas.microsoft.com/office/drawing/2014/main" id="{312194F6-FE3D-DC40-8824-EFB774D8E680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8275626" y="246360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97" name="Text Placeholder 17">
            <a:extLst>
              <a:ext uri="{FF2B5EF4-FFF2-40B4-BE49-F238E27FC236}">
                <a16:creationId xmlns:a16="http://schemas.microsoft.com/office/drawing/2014/main" id="{30C47C18-B73D-6D4F-B1B5-F704476D84B2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8275626" y="2725530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98" name="Picture Placeholder 5">
            <a:extLst>
              <a:ext uri="{FF2B5EF4-FFF2-40B4-BE49-F238E27FC236}">
                <a16:creationId xmlns:a16="http://schemas.microsoft.com/office/drawing/2014/main" id="{E2D2C08D-AE3C-EB4F-B4D8-EBD677A8390D}"/>
              </a:ext>
            </a:extLst>
          </p:cNvPr>
          <p:cNvSpPr>
            <a:spLocks noGrp="1" noChangeAspect="1"/>
          </p:cNvSpPr>
          <p:nvPr>
            <p:ph type="pic" sz="quarter" idx="72"/>
          </p:nvPr>
        </p:nvSpPr>
        <p:spPr>
          <a:xfrm>
            <a:off x="7275807" y="2385349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9" name="Text Placeholder 17">
            <a:extLst>
              <a:ext uri="{FF2B5EF4-FFF2-40B4-BE49-F238E27FC236}">
                <a16:creationId xmlns:a16="http://schemas.microsoft.com/office/drawing/2014/main" id="{4655D302-B056-004F-AC7C-B2BE4208D00D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8280942" y="3039410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07" name="Text Placeholder 17">
            <a:extLst>
              <a:ext uri="{FF2B5EF4-FFF2-40B4-BE49-F238E27FC236}">
                <a16:creationId xmlns:a16="http://schemas.microsoft.com/office/drawing/2014/main" id="{DBE1BC7B-6A59-F942-BFEA-E57DF606D480}"/>
              </a:ext>
            </a:extLst>
          </p:cNvPr>
          <p:cNvSpPr>
            <a:spLocks noGrp="1"/>
          </p:cNvSpPr>
          <p:nvPr>
            <p:ph type="body" sz="quarter" idx="81" hasCustomPrompt="1"/>
          </p:nvPr>
        </p:nvSpPr>
        <p:spPr>
          <a:xfrm>
            <a:off x="8280942" y="6640303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72" name="Text Placeholder 17">
            <a:extLst>
              <a:ext uri="{FF2B5EF4-FFF2-40B4-BE49-F238E27FC236}">
                <a16:creationId xmlns:a16="http://schemas.microsoft.com/office/drawing/2014/main" id="{71B7768B-833A-A94C-B05A-3126E66608D2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1359295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3" name="Text Placeholder 17">
            <a:extLst>
              <a:ext uri="{FF2B5EF4-FFF2-40B4-BE49-F238E27FC236}">
                <a16:creationId xmlns:a16="http://schemas.microsoft.com/office/drawing/2014/main" id="{183997D2-5C79-1D4A-AAE5-51D8B9B8FE72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1359295" y="4537304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74" name="Picture Placeholder 5">
            <a:extLst>
              <a:ext uri="{FF2B5EF4-FFF2-40B4-BE49-F238E27FC236}">
                <a16:creationId xmlns:a16="http://schemas.microsoft.com/office/drawing/2014/main" id="{0E3BCFEA-B0BE-8141-8FCA-25C4534CC7E3}"/>
              </a:ext>
            </a:extLst>
          </p:cNvPr>
          <p:cNvSpPr>
            <a:spLocks noGrp="1" noChangeAspect="1"/>
          </p:cNvSpPr>
          <p:nvPr>
            <p:ph type="pic" sz="quarter" idx="84"/>
          </p:nvPr>
        </p:nvSpPr>
        <p:spPr>
          <a:xfrm>
            <a:off x="359476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5" name="Text Placeholder 17">
            <a:extLst>
              <a:ext uri="{FF2B5EF4-FFF2-40B4-BE49-F238E27FC236}">
                <a16:creationId xmlns:a16="http://schemas.microsoft.com/office/drawing/2014/main" id="{4490CC13-6E18-5A40-98A9-EF6E9AB847E7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1364611" y="486178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80" name="Text Placeholder 17">
            <a:extLst>
              <a:ext uri="{FF2B5EF4-FFF2-40B4-BE49-F238E27FC236}">
                <a16:creationId xmlns:a16="http://schemas.microsoft.com/office/drawing/2014/main" id="{DA89615A-F6B0-5443-870B-3A8B1863B7D7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4814876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81" name="Text Placeholder 17">
            <a:extLst>
              <a:ext uri="{FF2B5EF4-FFF2-40B4-BE49-F238E27FC236}">
                <a16:creationId xmlns:a16="http://schemas.microsoft.com/office/drawing/2014/main" id="{2B82D6AE-CE9E-2E45-A4A4-A92B7861A528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4814876" y="4537304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94" name="Picture Placeholder 5">
            <a:extLst>
              <a:ext uri="{FF2B5EF4-FFF2-40B4-BE49-F238E27FC236}">
                <a16:creationId xmlns:a16="http://schemas.microsoft.com/office/drawing/2014/main" id="{64E73F09-9168-FE44-9270-870FF6C0F304}"/>
              </a:ext>
            </a:extLst>
          </p:cNvPr>
          <p:cNvSpPr>
            <a:spLocks noGrp="1" noChangeAspect="1"/>
          </p:cNvSpPr>
          <p:nvPr>
            <p:ph type="pic" sz="quarter" idx="88"/>
          </p:nvPr>
        </p:nvSpPr>
        <p:spPr>
          <a:xfrm>
            <a:off x="381505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5" name="Text Placeholder 17">
            <a:extLst>
              <a:ext uri="{FF2B5EF4-FFF2-40B4-BE49-F238E27FC236}">
                <a16:creationId xmlns:a16="http://schemas.microsoft.com/office/drawing/2014/main" id="{F8ED6090-491F-8548-BE5A-3FC6A6CC2E78}"/>
              </a:ext>
            </a:extLst>
          </p:cNvPr>
          <p:cNvSpPr>
            <a:spLocks noGrp="1"/>
          </p:cNvSpPr>
          <p:nvPr>
            <p:ph type="body" sz="quarter" idx="89" hasCustomPrompt="1"/>
          </p:nvPr>
        </p:nvSpPr>
        <p:spPr>
          <a:xfrm>
            <a:off x="4820192" y="486163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08" name="Text Placeholder 17">
            <a:extLst>
              <a:ext uri="{FF2B5EF4-FFF2-40B4-BE49-F238E27FC236}">
                <a16:creationId xmlns:a16="http://schemas.microsoft.com/office/drawing/2014/main" id="{8FA5C4D5-A77D-D441-81C0-D20227A39AFB}"/>
              </a:ext>
            </a:extLst>
          </p:cNvPr>
          <p:cNvSpPr>
            <a:spLocks noGrp="1"/>
          </p:cNvSpPr>
          <p:nvPr>
            <p:ph type="body" sz="quarter" idx="90" hasCustomPrompt="1"/>
          </p:nvPr>
        </p:nvSpPr>
        <p:spPr>
          <a:xfrm>
            <a:off x="8275626" y="4278652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09" name="Text Placeholder 17">
            <a:extLst>
              <a:ext uri="{FF2B5EF4-FFF2-40B4-BE49-F238E27FC236}">
                <a16:creationId xmlns:a16="http://schemas.microsoft.com/office/drawing/2014/main" id="{410C961D-B2A8-2F42-B8D6-8529C498A84C}"/>
              </a:ext>
            </a:extLst>
          </p:cNvPr>
          <p:cNvSpPr>
            <a:spLocks noGrp="1"/>
          </p:cNvSpPr>
          <p:nvPr>
            <p:ph type="body" sz="quarter" idx="91" hasCustomPrompt="1"/>
          </p:nvPr>
        </p:nvSpPr>
        <p:spPr>
          <a:xfrm>
            <a:off x="8275626" y="4540579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0" name="Picture Placeholder 5">
            <a:extLst>
              <a:ext uri="{FF2B5EF4-FFF2-40B4-BE49-F238E27FC236}">
                <a16:creationId xmlns:a16="http://schemas.microsoft.com/office/drawing/2014/main" id="{69A3C0BF-6999-4C41-9E7C-6D22F9FECCE0}"/>
              </a:ext>
            </a:extLst>
          </p:cNvPr>
          <p:cNvSpPr>
            <a:spLocks noGrp="1" noChangeAspect="1"/>
          </p:cNvSpPr>
          <p:nvPr>
            <p:ph type="pic" sz="quarter" idx="92"/>
          </p:nvPr>
        </p:nvSpPr>
        <p:spPr>
          <a:xfrm>
            <a:off x="7275807" y="4200398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1" name="Text Placeholder 17">
            <a:extLst>
              <a:ext uri="{FF2B5EF4-FFF2-40B4-BE49-F238E27FC236}">
                <a16:creationId xmlns:a16="http://schemas.microsoft.com/office/drawing/2014/main" id="{E847A34A-FA18-294F-A2AA-42A8A04E3DDF}"/>
              </a:ext>
            </a:extLst>
          </p:cNvPr>
          <p:cNvSpPr>
            <a:spLocks noGrp="1"/>
          </p:cNvSpPr>
          <p:nvPr>
            <p:ph type="body" sz="quarter" idx="93" hasCustomPrompt="1"/>
          </p:nvPr>
        </p:nvSpPr>
        <p:spPr>
          <a:xfrm>
            <a:off x="8280942" y="4854459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12" name="Text Placeholder 17">
            <a:extLst>
              <a:ext uri="{FF2B5EF4-FFF2-40B4-BE49-F238E27FC236}">
                <a16:creationId xmlns:a16="http://schemas.microsoft.com/office/drawing/2014/main" id="{CE506D79-0E45-8746-A092-5F2D85579EFD}"/>
              </a:ext>
            </a:extLst>
          </p:cNvPr>
          <p:cNvSpPr>
            <a:spLocks noGrp="1"/>
          </p:cNvSpPr>
          <p:nvPr>
            <p:ph type="body" sz="quarter" idx="94" hasCustomPrompt="1"/>
          </p:nvPr>
        </p:nvSpPr>
        <p:spPr>
          <a:xfrm>
            <a:off x="1359295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3" name="Text Placeholder 17">
            <a:extLst>
              <a:ext uri="{FF2B5EF4-FFF2-40B4-BE49-F238E27FC236}">
                <a16:creationId xmlns:a16="http://schemas.microsoft.com/office/drawing/2014/main" id="{8EFBF95F-B693-464C-88B3-CEF008BD074C}"/>
              </a:ext>
            </a:extLst>
          </p:cNvPr>
          <p:cNvSpPr>
            <a:spLocks noGrp="1"/>
          </p:cNvSpPr>
          <p:nvPr>
            <p:ph type="body" sz="quarter" idx="95" hasCustomPrompt="1"/>
          </p:nvPr>
        </p:nvSpPr>
        <p:spPr>
          <a:xfrm>
            <a:off x="1359295" y="63248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4" name="Picture Placeholder 5">
            <a:extLst>
              <a:ext uri="{FF2B5EF4-FFF2-40B4-BE49-F238E27FC236}">
                <a16:creationId xmlns:a16="http://schemas.microsoft.com/office/drawing/2014/main" id="{CD7F7CFB-EE6F-1243-83E8-6A781210E7B0}"/>
              </a:ext>
            </a:extLst>
          </p:cNvPr>
          <p:cNvSpPr>
            <a:spLocks noGrp="1" noChangeAspect="1"/>
          </p:cNvSpPr>
          <p:nvPr>
            <p:ph type="pic" sz="quarter" idx="96"/>
          </p:nvPr>
        </p:nvSpPr>
        <p:spPr>
          <a:xfrm>
            <a:off x="359476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5" name="Text Placeholder 17">
            <a:extLst>
              <a:ext uri="{FF2B5EF4-FFF2-40B4-BE49-F238E27FC236}">
                <a16:creationId xmlns:a16="http://schemas.microsoft.com/office/drawing/2014/main" id="{B24322DA-13F7-D940-A2CD-8E5322ECE3B6}"/>
              </a:ext>
            </a:extLst>
          </p:cNvPr>
          <p:cNvSpPr>
            <a:spLocks noGrp="1"/>
          </p:cNvSpPr>
          <p:nvPr>
            <p:ph type="body" sz="quarter" idx="97" hasCustomPrompt="1"/>
          </p:nvPr>
        </p:nvSpPr>
        <p:spPr>
          <a:xfrm>
            <a:off x="1364611" y="664933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16" name="Text Placeholder 17">
            <a:extLst>
              <a:ext uri="{FF2B5EF4-FFF2-40B4-BE49-F238E27FC236}">
                <a16:creationId xmlns:a16="http://schemas.microsoft.com/office/drawing/2014/main" id="{C4B65721-8D39-344C-9501-A958A8B17AA3}"/>
              </a:ext>
            </a:extLst>
          </p:cNvPr>
          <p:cNvSpPr>
            <a:spLocks noGrp="1"/>
          </p:cNvSpPr>
          <p:nvPr>
            <p:ph type="body" sz="quarter" idx="98" hasCustomPrompt="1"/>
          </p:nvPr>
        </p:nvSpPr>
        <p:spPr>
          <a:xfrm>
            <a:off x="4814876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17" name="Text Placeholder 17">
            <a:extLst>
              <a:ext uri="{FF2B5EF4-FFF2-40B4-BE49-F238E27FC236}">
                <a16:creationId xmlns:a16="http://schemas.microsoft.com/office/drawing/2014/main" id="{B0D115F9-DFCC-7C4F-BE2E-376249B73A31}"/>
              </a:ext>
            </a:extLst>
          </p:cNvPr>
          <p:cNvSpPr>
            <a:spLocks noGrp="1"/>
          </p:cNvSpPr>
          <p:nvPr>
            <p:ph type="body" sz="quarter" idx="99" hasCustomPrompt="1"/>
          </p:nvPr>
        </p:nvSpPr>
        <p:spPr>
          <a:xfrm>
            <a:off x="4814876" y="6324853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18" name="Picture Placeholder 5">
            <a:extLst>
              <a:ext uri="{FF2B5EF4-FFF2-40B4-BE49-F238E27FC236}">
                <a16:creationId xmlns:a16="http://schemas.microsoft.com/office/drawing/2014/main" id="{441357CC-87B8-1148-8867-8CD67EEB5C24}"/>
              </a:ext>
            </a:extLst>
          </p:cNvPr>
          <p:cNvSpPr>
            <a:spLocks noGrp="1" noChangeAspect="1"/>
          </p:cNvSpPr>
          <p:nvPr>
            <p:ph type="pic" sz="quarter" idx="100"/>
          </p:nvPr>
        </p:nvSpPr>
        <p:spPr>
          <a:xfrm>
            <a:off x="381505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9" name="Text Placeholder 17">
            <a:extLst>
              <a:ext uri="{FF2B5EF4-FFF2-40B4-BE49-F238E27FC236}">
                <a16:creationId xmlns:a16="http://schemas.microsoft.com/office/drawing/2014/main" id="{387F1AC6-EE98-C741-AE68-F6FF5CFD51EF}"/>
              </a:ext>
            </a:extLst>
          </p:cNvPr>
          <p:cNvSpPr>
            <a:spLocks noGrp="1"/>
          </p:cNvSpPr>
          <p:nvPr>
            <p:ph type="body" sz="quarter" idx="101" hasCustomPrompt="1"/>
          </p:nvPr>
        </p:nvSpPr>
        <p:spPr>
          <a:xfrm>
            <a:off x="4820192" y="664918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  <p:sp>
        <p:nvSpPr>
          <p:cNvPr id="120" name="Text Placeholder 17">
            <a:extLst>
              <a:ext uri="{FF2B5EF4-FFF2-40B4-BE49-F238E27FC236}">
                <a16:creationId xmlns:a16="http://schemas.microsoft.com/office/drawing/2014/main" id="{CF11C440-3FC8-D549-A007-AEFE848BA187}"/>
              </a:ext>
            </a:extLst>
          </p:cNvPr>
          <p:cNvSpPr>
            <a:spLocks noGrp="1"/>
          </p:cNvSpPr>
          <p:nvPr>
            <p:ph type="body" sz="quarter" idx="102" hasCustomPrompt="1"/>
          </p:nvPr>
        </p:nvSpPr>
        <p:spPr>
          <a:xfrm>
            <a:off x="8275626" y="6066201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3369FF"/>
                </a:solidFill>
                <a:latin typeface="IBM Eliot Sans" panose="020B0503050000000000" pitchFamily="34" charset="0"/>
              </a:defRPr>
            </a:lvl1pPr>
          </a:lstStyle>
          <a:p>
            <a:pPr lvl="0"/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21" name="Text Placeholder 17">
            <a:extLst>
              <a:ext uri="{FF2B5EF4-FFF2-40B4-BE49-F238E27FC236}">
                <a16:creationId xmlns:a16="http://schemas.microsoft.com/office/drawing/2014/main" id="{1D7527AB-F872-5D4F-9180-6517078E2B00}"/>
              </a:ext>
            </a:extLst>
          </p:cNvPr>
          <p:cNvSpPr>
            <a:spLocks noGrp="1"/>
          </p:cNvSpPr>
          <p:nvPr>
            <p:ph type="body" sz="quarter" idx="103" hasCustomPrompt="1"/>
          </p:nvPr>
        </p:nvSpPr>
        <p:spPr>
          <a:xfrm>
            <a:off x="8275626" y="6328128"/>
            <a:ext cx="2222130" cy="25950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Job Title</a:t>
            </a:r>
          </a:p>
        </p:txBody>
      </p:sp>
      <p:sp>
        <p:nvSpPr>
          <p:cNvPr id="122" name="Picture Placeholder 5">
            <a:extLst>
              <a:ext uri="{FF2B5EF4-FFF2-40B4-BE49-F238E27FC236}">
                <a16:creationId xmlns:a16="http://schemas.microsoft.com/office/drawing/2014/main" id="{CFB3C9FF-7436-9846-9211-762CC13EEE0C}"/>
              </a:ext>
            </a:extLst>
          </p:cNvPr>
          <p:cNvSpPr>
            <a:spLocks noGrp="1" noChangeAspect="1"/>
          </p:cNvSpPr>
          <p:nvPr>
            <p:ph type="pic" sz="quarter" idx="104"/>
          </p:nvPr>
        </p:nvSpPr>
        <p:spPr>
          <a:xfrm>
            <a:off x="7275807" y="5987947"/>
            <a:ext cx="857250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 algn="ctr">
              <a:buNone/>
              <a:defRPr sz="675" b="1" i="0">
                <a:solidFill>
                  <a:schemeClr val="bg1">
                    <a:lumMod val="95000"/>
                  </a:schemeClr>
                </a:solidFill>
                <a:latin typeface="IBM Eliot Sans Medium" panose="020B0703050000000000" pitchFamily="34" charset="0"/>
                <a:cs typeface="Segoe UI" panose="020B050204020402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3" name="Text Placeholder 17">
            <a:extLst>
              <a:ext uri="{FF2B5EF4-FFF2-40B4-BE49-F238E27FC236}">
                <a16:creationId xmlns:a16="http://schemas.microsoft.com/office/drawing/2014/main" id="{6F30B1CA-5C2F-F540-82E3-85F0D71D24CE}"/>
              </a:ext>
            </a:extLst>
          </p:cNvPr>
          <p:cNvSpPr>
            <a:spLocks noGrp="1"/>
          </p:cNvSpPr>
          <p:nvPr>
            <p:ph type="body" sz="quarter" idx="105" hasCustomPrompt="1"/>
          </p:nvPr>
        </p:nvSpPr>
        <p:spPr>
          <a:xfrm>
            <a:off x="8280942" y="6642008"/>
            <a:ext cx="2222130" cy="590141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080"/>
              </a:lnSpc>
              <a:spcBef>
                <a:spcPts val="0"/>
              </a:spcBef>
              <a:buNone/>
              <a:defRPr sz="900" b="0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(888) 123–4567</a:t>
            </a:r>
          </a:p>
          <a:p>
            <a:pPr lvl="0"/>
            <a:r>
              <a:rPr lang="en-US" dirty="0" err="1"/>
              <a:t>name@equitable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4999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486B662-82A9-3240-99B0-CABFBF382E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1017F322-6C13-F740-B332-E77A00AED6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6DF122C-D96D-6F42-9C0D-614B8475D90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9525">
              <a:lnSpc>
                <a:spcPts val="4125"/>
              </a:lnSpc>
              <a:buNone/>
              <a:tabLst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“We’ve been Protecting financial security since 1859. Planning for your retirement, life insurance protection, saving for educations and investing for the future.”</a:t>
            </a:r>
          </a:p>
        </p:txBody>
      </p:sp>
    </p:spTree>
    <p:extLst>
      <p:ext uri="{BB962C8B-B14F-4D97-AF65-F5344CB8AC3E}">
        <p14:creationId xmlns:p14="http://schemas.microsoft.com/office/powerpoint/2010/main" val="422368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0" userDrawn="1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459513B-74D7-7742-B451-0A2A074BC7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67C9897-77FD-E947-892C-ED90BBBF6C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BEA7F6D-1BFD-3141-8D92-1C4D5ECC9F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89321" y="2143120"/>
            <a:ext cx="7490222" cy="517208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125"/>
              </a:lnSpc>
              <a:buNone/>
              <a:defRPr sz="3375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We’ve been Protecting financial security since 1859. Planning for your retirement, life insurance protection, saving for educations and investing for the future.”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10841-2B4E-434A-84C9-2317904A78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270" y="-139150"/>
            <a:ext cx="1371600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40473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88F26D51-4839-0F4E-B752-B21A815B3A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0CA9EEFB-C3EC-304A-843D-00359DB0B9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BF29C42D-3970-FF4C-BB9F-A1D9C3181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98187350-B34C-1448-A83B-3FAB83DDCC77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79873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7" name="Text Placeholder 35">
            <a:extLst>
              <a:ext uri="{FF2B5EF4-FFF2-40B4-BE49-F238E27FC236}">
                <a16:creationId xmlns:a16="http://schemas.microsoft.com/office/drawing/2014/main" id="{55811FEA-2285-D345-962B-647DA7972873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737151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7FA163D3-BDF9-824E-8A4D-5BB4C9B224A4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7250994" y="4525081"/>
            <a:ext cx="2568178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043BBC51-E2C6-6046-8946-0951A903C8F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6A851CCA-57B3-0046-9BD6-FC83A05AD7B7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3734447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 dirty="0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0A90DF1F-2517-4741-8F3A-634C7A7CE3B2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7248065" y="3072384"/>
            <a:ext cx="1028700" cy="1371600"/>
          </a:xfrm>
          <a:prstGeom prst="rect">
            <a:avLst/>
          </a:prstGeom>
        </p:spPr>
        <p:txBody>
          <a:bodyPr/>
          <a:lstStyle>
            <a:lvl2pPr>
              <a:defRPr sz="600" b="0" i="0">
                <a:latin typeface="IBM Eliot Sans Medium" panose="020B0703050000000000" pitchFamily="34" charset="0"/>
              </a:defRPr>
            </a:lvl2pPr>
          </a:lstStyle>
          <a:p>
            <a:pPr lvl="1"/>
            <a:endParaRPr lang="en-US" dirty="0"/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35C852C2-C2A7-EA43-906E-C79B168FE0DA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3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7C8E18A9-E9D3-D642-BEEA-AC621C4D853F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3726156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C3D1D24F-ABFE-E742-8B7F-DB0A53E74E5B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247067" y="4822998"/>
            <a:ext cx="2714710" cy="2492202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 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24238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064" userDrawn="1">
          <p15:clr>
            <a:srgbClr val="FBAE40"/>
          </p15:clr>
        </p15:guide>
        <p15:guide id="6" orient="horz" pos="2664" userDrawn="1">
          <p15:clr>
            <a:srgbClr val="FBAE40"/>
          </p15:clr>
        </p15:guide>
        <p15:guide id="9" orient="horz" pos="2880" userDrawn="1">
          <p15:clr>
            <a:srgbClr val="FBAE40"/>
          </p15:clr>
        </p15:guide>
        <p15:guide id="10" orient="horz" pos="3024" userDrawn="1">
          <p15:clr>
            <a:srgbClr val="FBAE40"/>
          </p15:clr>
        </p15:guide>
        <p15:guide id="11" orient="horz" pos="1896" userDrawn="1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22903CC2-B49C-254B-99F5-CED8DD4961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13996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AF085A-2367-3B4F-B2D3-735C72EA97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1DE36CFC-41B2-8C47-9108-49B2931730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46" name="Text Placeholder 35">
            <a:extLst>
              <a:ext uri="{FF2B5EF4-FFF2-40B4-BE49-F238E27FC236}">
                <a16:creationId xmlns:a16="http://schemas.microsoft.com/office/drawing/2014/main" id="{757EB81F-7D3E-AD48-8696-3F5B6501A9A8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279873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7" name="Text Placeholder 35">
            <a:extLst>
              <a:ext uri="{FF2B5EF4-FFF2-40B4-BE49-F238E27FC236}">
                <a16:creationId xmlns:a16="http://schemas.microsoft.com/office/drawing/2014/main" id="{5DE3D25B-C45A-ED4F-86DA-54B4327EFA36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867531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0A0C3EF2-8C93-1F48-9734-992BA9936C8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476399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49" name="Text Placeholder 35">
            <a:extLst>
              <a:ext uri="{FF2B5EF4-FFF2-40B4-BE49-F238E27FC236}">
                <a16:creationId xmlns:a16="http://schemas.microsoft.com/office/drawing/2014/main" id="{59105C59-2C7F-F341-992C-22751EB0BB1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078197" y="4525081"/>
            <a:ext cx="2271305" cy="2730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6D87C8E-8AA0-9C48-8003-F805FFA0BD4D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2863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FB0BDA74-C70F-9D48-96FA-18508C0FA641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287719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03A6F76D-EC9F-0F46-97C9-F54AF3B19B30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>
          <a:xfrm>
            <a:off x="5477522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D5F68AE7-31F3-B94B-BA23-AEB709E92A50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>
          <a:xfrm>
            <a:off x="8077847" y="3072384"/>
            <a:ext cx="1028700" cy="1371600"/>
          </a:xfrm>
          <a:prstGeom prst="rect">
            <a:avLst/>
          </a:prstGeom>
        </p:spPr>
        <p:txBody>
          <a:bodyPr/>
          <a:lstStyle>
            <a:lvl1pPr>
              <a:defRPr sz="600" b="0" i="0">
                <a:latin typeface="IBM Eliot Sans Medium" panose="020B0703050000000000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69C6EF-58E8-744A-A89F-F181C118C0B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2877743" y="4820241"/>
            <a:ext cx="2064261" cy="2494963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3D2A3ABF-5388-1E4C-9A74-6626C6BF886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75945" y="4820242"/>
            <a:ext cx="2064261" cy="2494963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419DE374-175B-F34F-BB71-14B2689F4627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479540" y="4820236"/>
            <a:ext cx="2064261" cy="2494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B5222328-7E5E-B046-A2EA-5651060300DA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8081339" y="4820236"/>
            <a:ext cx="2064261" cy="2494964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90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ccatur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,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d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optio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consequ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am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que pr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berrunti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quo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iminimus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ut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</a:t>
            </a:r>
          </a:p>
          <a:p>
            <a:pPr marL="0" marR="0" lvl="0" indent="0" algn="l" defTabSz="822878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 el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stiam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 ex </a:t>
            </a:r>
            <a:r>
              <a:rPr lang="en-US" dirty="0" err="1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excearuptae</a:t>
            </a:r>
            <a:r>
              <a:rPr lang="en-US" dirty="0">
                <a:solidFill>
                  <a:srgbClr val="002677"/>
                </a:solidFill>
                <a:effectLst/>
                <a:latin typeface="Segoe UI" panose="020B0502040204020203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9138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2088" userDrawn="1">
          <p15:clr>
            <a:srgbClr val="FBAE40"/>
          </p15:clr>
        </p15:guide>
        <p15:guide id="8" orient="horz" pos="2664" userDrawn="1">
          <p15:clr>
            <a:srgbClr val="FBAE40"/>
          </p15:clr>
        </p15:guide>
        <p15:guide id="9" orient="horz" pos="2880" userDrawn="1">
          <p15:clr>
            <a:srgbClr val="FBAE40"/>
          </p15:clr>
        </p15:guide>
        <p15:guide id="10" orient="horz" pos="3024" userDrawn="1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rmation slide_WT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4682A8E-0AB0-A24F-A5C7-CFEC79E53445}"/>
              </a:ext>
            </a:extLst>
          </p:cNvPr>
          <p:cNvSpPr/>
          <p:nvPr userDrawn="1"/>
        </p:nvSpPr>
        <p:spPr>
          <a:xfrm>
            <a:off x="342899" y="3009900"/>
            <a:ext cx="3422142" cy="4305300"/>
          </a:xfrm>
          <a:prstGeom prst="rect">
            <a:avLst/>
          </a:prstGeom>
          <a:solidFill>
            <a:srgbClr val="00267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n>
                <a:noFill/>
              </a:ln>
              <a:latin typeface="IBM Eliot Sans Medium" panose="020B0703050000000000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586B1C2-4F27-5345-8739-AAB8E4A18D6C}"/>
              </a:ext>
            </a:extLst>
          </p:cNvPr>
          <p:cNvSpPr/>
          <p:nvPr userDrawn="1"/>
        </p:nvSpPr>
        <p:spPr>
          <a:xfrm>
            <a:off x="7204897" y="3009904"/>
            <a:ext cx="3422142" cy="4305299"/>
          </a:xfrm>
          <a:prstGeom prst="rect">
            <a:avLst/>
          </a:prstGeom>
          <a:solidFill>
            <a:srgbClr val="73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67A002-FD12-AD40-8FC6-33ADE9F19081}"/>
              </a:ext>
            </a:extLst>
          </p:cNvPr>
          <p:cNvSpPr/>
          <p:nvPr userDrawn="1"/>
        </p:nvSpPr>
        <p:spPr>
          <a:xfrm>
            <a:off x="3781688" y="3009900"/>
            <a:ext cx="3422142" cy="43053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20" b="0" i="0" dirty="0">
              <a:latin typeface="IBM Eliot Sans Medium" panose="020B0703050000000000" pitchFamily="34" charset="0"/>
            </a:endParaRP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759F02F-F474-474F-B0E6-0D758B042F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022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FBF3BBDA-0DB4-6D49-8F11-6FA88CE9D7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40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B48635D-BFE8-4C4E-85B1-F4D715E598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6611" y="459462"/>
            <a:ext cx="4201091" cy="9907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2625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Title Here</a:t>
            </a:r>
          </a:p>
          <a:p>
            <a:pPr lvl="0"/>
            <a:r>
              <a:rPr lang="en-US" dirty="0"/>
              <a:t>One or Two Lines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29F61871-D212-FB46-A1E0-5330B1E24FE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73974" y="1443310"/>
            <a:ext cx="4201091" cy="4769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2250"/>
              </a:lnSpc>
              <a:buNone/>
              <a:defRPr sz="135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Page Subtitle Here</a:t>
            </a:r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82D614ED-C6D3-264A-ACB4-18E083D515A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531216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5" name="Text Placeholder 35">
            <a:extLst>
              <a:ext uri="{FF2B5EF4-FFF2-40B4-BE49-F238E27FC236}">
                <a16:creationId xmlns:a16="http://schemas.microsoft.com/office/drawing/2014/main" id="{064BFA76-4218-9749-BFDB-0BFA32812CF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3988494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56" name="Text Placeholder 35">
            <a:extLst>
              <a:ext uri="{FF2B5EF4-FFF2-40B4-BE49-F238E27FC236}">
                <a16:creationId xmlns:a16="http://schemas.microsoft.com/office/drawing/2014/main" id="{AC4B0846-8D4C-5A44-AB59-730B0D8BAE06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7417494" y="4978100"/>
            <a:ext cx="2568178" cy="27305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900" b="1" i="0">
                <a:solidFill>
                  <a:srgbClr val="002577"/>
                </a:solidFill>
                <a:latin typeface="IBM Eliot Sans Medium" panose="020B0703050000000000" pitchFamily="34" charset="0"/>
              </a:defRPr>
            </a:lvl1pPr>
          </a:lstStyle>
          <a:p>
            <a:pPr lvl="0"/>
            <a:r>
              <a:rPr lang="en-US" dirty="0"/>
              <a:t>Body Headlin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6FF3F498-C214-D344-94C1-AE54D68085A4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552450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320DA53D-30DC-CD40-BDF2-CBF6A74AF732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3971925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solidFill>
                  <a:schemeClr val="bg1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A1055217-ADD6-0544-A10B-C3E480F436FE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7400925" y="3343102"/>
            <a:ext cx="1028700" cy="1371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" b="0" i="0"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D3DD26B-BA00-5B44-A8FE-62F25E12967A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552450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BE0A17F4-35C3-3042-96BA-17C275EC2838}"/>
              </a:ext>
            </a:extLst>
          </p:cNvPr>
          <p:cNvSpPr>
            <a:spLocks noGrp="1"/>
          </p:cNvSpPr>
          <p:nvPr>
            <p:ph type="body" sz="quarter" idx="65" hasCustomPrompt="1"/>
          </p:nvPr>
        </p:nvSpPr>
        <p:spPr>
          <a:xfrm>
            <a:off x="3981450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FFFFFF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2428D181-0ACB-754A-9EBE-3E2B9F49CCAF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403592" y="5276284"/>
            <a:ext cx="2677668" cy="1612201"/>
          </a:xfrm>
          <a:prstGeom prst="rect">
            <a:avLst/>
          </a:prstGeom>
        </p:spPr>
        <p:txBody>
          <a:bodyPr/>
          <a:lstStyle>
            <a:lvl1pPr marL="0" marR="0" indent="0" algn="l" defTabSz="822878" rtl="0" eaLnBrk="1" fontAlgn="auto" latinLnBrk="0" hangingPunct="1">
              <a:lnSpc>
                <a:spcPts val="12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b="0" i="0" smtClean="0">
                <a:solidFill>
                  <a:srgbClr val="002577"/>
                </a:solidFill>
                <a:effectLst/>
                <a:latin typeface="IBM Plex Sans Medium" panose="020B0603050203000203" pitchFamily="34" charset="0"/>
              </a:defRPr>
            </a:lvl1pPr>
          </a:lstStyle>
          <a:p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catur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d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ptio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equ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 que pr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runti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quo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inimus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t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 el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tiam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 </a:t>
            </a:r>
            <a:r>
              <a:rPr lang="en-US" sz="900" dirty="0" err="1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cearuptae</a:t>
            </a:r>
            <a:r>
              <a:rPr lang="en-US" sz="900" dirty="0">
                <a:effectLst/>
                <a:latin typeface="Segoe UI" panose="020B0502040204020203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sz="9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244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88" userDrawn="1">
          <p15:clr>
            <a:srgbClr val="FBAE40"/>
          </p15:clr>
        </p15:guide>
        <p15:guide id="3" orient="horz" pos="3168" userDrawn="1">
          <p15:clr>
            <a:srgbClr val="FBAE40"/>
          </p15:clr>
        </p15:guide>
        <p15:guide id="9" pos="378" userDrawn="1">
          <p15:clr>
            <a:srgbClr val="FBAE40"/>
          </p15:clr>
        </p15:guide>
        <p15:guide id="11" orient="horz" pos="43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slideLayout" Target="../slideLayouts/slideLayout211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00.xml"/><Relationship Id="rId16" Type="http://schemas.openxmlformats.org/officeDocument/2006/relationships/vmlDrawing" Target="../drawings/vmlDrawing10.v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20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slideLayout" Target="../slideLayouts/slideLayout225.xml"/><Relationship Id="rId18" Type="http://schemas.openxmlformats.org/officeDocument/2006/relationships/vmlDrawing" Target="../drawings/vmlDrawing12.vml"/><Relationship Id="rId3" Type="http://schemas.openxmlformats.org/officeDocument/2006/relationships/slideLayout" Target="../slideLayouts/slideLayout215.xml"/><Relationship Id="rId21" Type="http://schemas.openxmlformats.org/officeDocument/2006/relationships/image" Target="../media/image16.emf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214.xml"/><Relationship Id="rId16" Type="http://schemas.openxmlformats.org/officeDocument/2006/relationships/slideLayout" Target="../slideLayouts/slideLayout228.x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17.xml"/><Relationship Id="rId15" Type="http://schemas.openxmlformats.org/officeDocument/2006/relationships/slideLayout" Target="../slideLayouts/slideLayout227.xml"/><Relationship Id="rId10" Type="http://schemas.openxmlformats.org/officeDocument/2006/relationships/slideLayout" Target="../slideLayouts/slideLayout222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slideLayout" Target="../slideLayouts/slideLayout226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1.xml"/><Relationship Id="rId18" Type="http://schemas.openxmlformats.org/officeDocument/2006/relationships/slideLayout" Target="../slideLayouts/slideLayout246.xml"/><Relationship Id="rId26" Type="http://schemas.openxmlformats.org/officeDocument/2006/relationships/slideLayout" Target="../slideLayouts/slideLayout254.xml"/><Relationship Id="rId39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49.xml"/><Relationship Id="rId34" Type="http://schemas.openxmlformats.org/officeDocument/2006/relationships/slideLayout" Target="../slideLayouts/slideLayout262.xml"/><Relationship Id="rId42" Type="http://schemas.openxmlformats.org/officeDocument/2006/relationships/slideLayout" Target="../slideLayouts/slideLayout270.xml"/><Relationship Id="rId47" Type="http://schemas.openxmlformats.org/officeDocument/2006/relationships/vmlDrawing" Target="../drawings/vmlDrawing29.vml"/><Relationship Id="rId50" Type="http://schemas.openxmlformats.org/officeDocument/2006/relationships/image" Target="../media/image35.emf"/><Relationship Id="rId7" Type="http://schemas.openxmlformats.org/officeDocument/2006/relationships/slideLayout" Target="../slideLayouts/slideLayout235.xml"/><Relationship Id="rId2" Type="http://schemas.openxmlformats.org/officeDocument/2006/relationships/slideLayout" Target="../slideLayouts/slideLayout230.xml"/><Relationship Id="rId16" Type="http://schemas.openxmlformats.org/officeDocument/2006/relationships/slideLayout" Target="../slideLayouts/slideLayout244.xml"/><Relationship Id="rId29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39.xml"/><Relationship Id="rId24" Type="http://schemas.openxmlformats.org/officeDocument/2006/relationships/slideLayout" Target="../slideLayouts/slideLayout252.xml"/><Relationship Id="rId32" Type="http://schemas.openxmlformats.org/officeDocument/2006/relationships/slideLayout" Target="../slideLayouts/slideLayout260.xml"/><Relationship Id="rId37" Type="http://schemas.openxmlformats.org/officeDocument/2006/relationships/slideLayout" Target="../slideLayouts/slideLayout265.xml"/><Relationship Id="rId40" Type="http://schemas.openxmlformats.org/officeDocument/2006/relationships/slideLayout" Target="../slideLayouts/slideLayout268.xml"/><Relationship Id="rId45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3.xml"/><Relationship Id="rId23" Type="http://schemas.openxmlformats.org/officeDocument/2006/relationships/slideLayout" Target="../slideLayouts/slideLayout251.xml"/><Relationship Id="rId28" Type="http://schemas.openxmlformats.org/officeDocument/2006/relationships/slideLayout" Target="../slideLayouts/slideLayout256.xml"/><Relationship Id="rId36" Type="http://schemas.openxmlformats.org/officeDocument/2006/relationships/slideLayout" Target="../slideLayouts/slideLayout264.xml"/><Relationship Id="rId49" Type="http://schemas.openxmlformats.org/officeDocument/2006/relationships/oleObject" Target="../embeddings/oleObject27.bin"/><Relationship Id="rId10" Type="http://schemas.openxmlformats.org/officeDocument/2006/relationships/slideLayout" Target="../slideLayouts/slideLayout238.xml"/><Relationship Id="rId19" Type="http://schemas.openxmlformats.org/officeDocument/2006/relationships/slideLayout" Target="../slideLayouts/slideLayout247.xml"/><Relationship Id="rId31" Type="http://schemas.openxmlformats.org/officeDocument/2006/relationships/slideLayout" Target="../slideLayouts/slideLayout259.xml"/><Relationship Id="rId44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42.xml"/><Relationship Id="rId22" Type="http://schemas.openxmlformats.org/officeDocument/2006/relationships/slideLayout" Target="../slideLayouts/slideLayout250.xml"/><Relationship Id="rId27" Type="http://schemas.openxmlformats.org/officeDocument/2006/relationships/slideLayout" Target="../slideLayouts/slideLayout255.xml"/><Relationship Id="rId30" Type="http://schemas.openxmlformats.org/officeDocument/2006/relationships/slideLayout" Target="../slideLayouts/slideLayout258.xml"/><Relationship Id="rId35" Type="http://schemas.openxmlformats.org/officeDocument/2006/relationships/slideLayout" Target="../slideLayouts/slideLayout263.xml"/><Relationship Id="rId43" Type="http://schemas.openxmlformats.org/officeDocument/2006/relationships/slideLayout" Target="../slideLayouts/slideLayout271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40.xml"/><Relationship Id="rId17" Type="http://schemas.openxmlformats.org/officeDocument/2006/relationships/slideLayout" Target="../slideLayouts/slideLayout245.xml"/><Relationship Id="rId25" Type="http://schemas.openxmlformats.org/officeDocument/2006/relationships/slideLayout" Target="../slideLayouts/slideLayout253.xml"/><Relationship Id="rId33" Type="http://schemas.openxmlformats.org/officeDocument/2006/relationships/slideLayout" Target="../slideLayouts/slideLayout261.xml"/><Relationship Id="rId38" Type="http://schemas.openxmlformats.org/officeDocument/2006/relationships/slideLayout" Target="../slideLayouts/slideLayout266.xml"/><Relationship Id="rId46" Type="http://schemas.openxmlformats.org/officeDocument/2006/relationships/theme" Target="../theme/theme12.xml"/><Relationship Id="rId20" Type="http://schemas.openxmlformats.org/officeDocument/2006/relationships/slideLayout" Target="../slideLayouts/slideLayout248.xml"/><Relationship Id="rId41" Type="http://schemas.openxmlformats.org/officeDocument/2006/relationships/slideLayout" Target="../slideLayouts/slideLayout269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1.xml"/><Relationship Id="rId13" Type="http://schemas.openxmlformats.org/officeDocument/2006/relationships/slideLayout" Target="../slideLayouts/slideLayout286.xml"/><Relationship Id="rId18" Type="http://schemas.openxmlformats.org/officeDocument/2006/relationships/vmlDrawing" Target="../drawings/vmlDrawing73.vml"/><Relationship Id="rId3" Type="http://schemas.openxmlformats.org/officeDocument/2006/relationships/slideLayout" Target="../slideLayouts/slideLayout276.xml"/><Relationship Id="rId21" Type="http://schemas.openxmlformats.org/officeDocument/2006/relationships/oleObject" Target="../embeddings/oleObject71.bin"/><Relationship Id="rId7" Type="http://schemas.openxmlformats.org/officeDocument/2006/relationships/slideLayout" Target="../slideLayouts/slideLayout280.xml"/><Relationship Id="rId12" Type="http://schemas.openxmlformats.org/officeDocument/2006/relationships/slideLayout" Target="../slideLayouts/slideLayout285.xml"/><Relationship Id="rId17" Type="http://schemas.openxmlformats.org/officeDocument/2006/relationships/theme" Target="../theme/theme13.xml"/><Relationship Id="rId2" Type="http://schemas.openxmlformats.org/officeDocument/2006/relationships/slideLayout" Target="../slideLayouts/slideLayout275.xml"/><Relationship Id="rId16" Type="http://schemas.openxmlformats.org/officeDocument/2006/relationships/slideLayout" Target="../slideLayouts/slideLayout289.xml"/><Relationship Id="rId20" Type="http://schemas.openxmlformats.org/officeDocument/2006/relationships/tags" Target="../tags/tag75.xml"/><Relationship Id="rId1" Type="http://schemas.openxmlformats.org/officeDocument/2006/relationships/slideLayout" Target="../slideLayouts/slideLayout274.xml"/><Relationship Id="rId6" Type="http://schemas.openxmlformats.org/officeDocument/2006/relationships/slideLayout" Target="../slideLayouts/slideLayout279.xml"/><Relationship Id="rId11" Type="http://schemas.openxmlformats.org/officeDocument/2006/relationships/slideLayout" Target="../slideLayouts/slideLayout284.xml"/><Relationship Id="rId5" Type="http://schemas.openxmlformats.org/officeDocument/2006/relationships/slideLayout" Target="../slideLayouts/slideLayout278.xml"/><Relationship Id="rId15" Type="http://schemas.openxmlformats.org/officeDocument/2006/relationships/slideLayout" Target="../slideLayouts/slideLayout288.xml"/><Relationship Id="rId10" Type="http://schemas.openxmlformats.org/officeDocument/2006/relationships/slideLayout" Target="../slideLayouts/slideLayout283.xml"/><Relationship Id="rId19" Type="http://schemas.openxmlformats.org/officeDocument/2006/relationships/tags" Target="../tags/tag74.xml"/><Relationship Id="rId4" Type="http://schemas.openxmlformats.org/officeDocument/2006/relationships/slideLayout" Target="../slideLayouts/slideLayout277.xml"/><Relationship Id="rId9" Type="http://schemas.openxmlformats.org/officeDocument/2006/relationships/slideLayout" Target="../slideLayouts/slideLayout282.xml"/><Relationship Id="rId14" Type="http://schemas.openxmlformats.org/officeDocument/2006/relationships/slideLayout" Target="../slideLayouts/slideLayout287.xml"/><Relationship Id="rId22" Type="http://schemas.openxmlformats.org/officeDocument/2006/relationships/image" Target="../media/image16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51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68.xml"/><Relationship Id="rId7" Type="http://schemas.openxmlformats.org/officeDocument/2006/relationships/vmlDrawing" Target="../drawings/vmlDrawing3.v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7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9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oleObject" Target="../embeddings/oleObject4.bin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9" Type="http://schemas.openxmlformats.org/officeDocument/2006/relationships/slideLayout" Target="../slideLayouts/slideLayout111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42" Type="http://schemas.openxmlformats.org/officeDocument/2006/relationships/slideLayout" Target="../slideLayouts/slideLayout114.xml"/><Relationship Id="rId47" Type="http://schemas.openxmlformats.org/officeDocument/2006/relationships/slideLayout" Target="../slideLayouts/slideLayout119.xml"/><Relationship Id="rId50" Type="http://schemas.openxmlformats.org/officeDocument/2006/relationships/slideLayout" Target="../slideLayouts/slideLayout122.xml"/><Relationship Id="rId55" Type="http://schemas.openxmlformats.org/officeDocument/2006/relationships/image" Target="../media/image1.emf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9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37" Type="http://schemas.openxmlformats.org/officeDocument/2006/relationships/slideLayout" Target="../slideLayouts/slideLayout109.xml"/><Relationship Id="rId40" Type="http://schemas.openxmlformats.org/officeDocument/2006/relationships/slideLayout" Target="../slideLayouts/slideLayout112.xml"/><Relationship Id="rId45" Type="http://schemas.openxmlformats.org/officeDocument/2006/relationships/slideLayout" Target="../slideLayouts/slideLayout117.xml"/><Relationship Id="rId53" Type="http://schemas.openxmlformats.org/officeDocument/2006/relationships/tags" Target="../tags/tag6.xml"/><Relationship Id="rId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4" Type="http://schemas.openxmlformats.org/officeDocument/2006/relationships/slideLayout" Target="../slideLayouts/slideLayout116.xml"/><Relationship Id="rId52" Type="http://schemas.openxmlformats.org/officeDocument/2006/relationships/vmlDrawing" Target="../drawings/vmlDrawing5.v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Relationship Id="rId43" Type="http://schemas.openxmlformats.org/officeDocument/2006/relationships/slideLayout" Target="../slideLayouts/slideLayout115.xml"/><Relationship Id="rId48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80.xml"/><Relationship Id="rId51" Type="http://schemas.openxmlformats.org/officeDocument/2006/relationships/theme" Target="../theme/theme5.xml"/><Relationship Id="rId3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38" Type="http://schemas.openxmlformats.org/officeDocument/2006/relationships/slideLayout" Target="../slideLayouts/slideLayout110.xml"/><Relationship Id="rId4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92.xml"/><Relationship Id="rId41" Type="http://schemas.openxmlformats.org/officeDocument/2006/relationships/slideLayout" Target="../slideLayouts/slideLayout113.xml"/><Relationship Id="rId54" Type="http://schemas.openxmlformats.org/officeDocument/2006/relationships/oleObject" Target="../embeddings/oleObject5.bin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slideLayout" Target="../slideLayouts/slideLayout108.xml"/><Relationship Id="rId49" Type="http://schemas.openxmlformats.org/officeDocument/2006/relationships/slideLayout" Target="../slideLayouts/slideLayout121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9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43.xml"/><Relationship Id="rId34" Type="http://schemas.openxmlformats.org/officeDocument/2006/relationships/slideLayout" Target="../slideLayouts/slideLayout156.xml"/><Relationship Id="rId42" Type="http://schemas.openxmlformats.org/officeDocument/2006/relationships/slideLayout" Target="../slideLayouts/slideLayout164.xml"/><Relationship Id="rId47" Type="http://schemas.openxmlformats.org/officeDocument/2006/relationships/slideLayout" Target="../slideLayouts/slideLayout169.xml"/><Relationship Id="rId50" Type="http://schemas.openxmlformats.org/officeDocument/2006/relationships/slideLayout" Target="../slideLayouts/slideLayout172.xml"/><Relationship Id="rId55" Type="http://schemas.openxmlformats.org/officeDocument/2006/relationships/oleObject" Target="../embeddings/oleObject6.bin"/><Relationship Id="rId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40" Type="http://schemas.openxmlformats.org/officeDocument/2006/relationships/slideLayout" Target="../slideLayouts/slideLayout162.xml"/><Relationship Id="rId45" Type="http://schemas.openxmlformats.org/officeDocument/2006/relationships/slideLayout" Target="../slideLayouts/slideLayout167.xml"/><Relationship Id="rId53" Type="http://schemas.openxmlformats.org/officeDocument/2006/relationships/vmlDrawing" Target="../drawings/vmlDrawing6.v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66.xml"/><Relationship Id="rId52" Type="http://schemas.openxmlformats.org/officeDocument/2006/relationships/theme" Target="../theme/theme6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43" Type="http://schemas.openxmlformats.org/officeDocument/2006/relationships/slideLayout" Target="../slideLayouts/slideLayout165.xml"/><Relationship Id="rId48" Type="http://schemas.openxmlformats.org/officeDocument/2006/relationships/slideLayout" Target="../slideLayouts/slideLayout170.xml"/><Relationship Id="rId56" Type="http://schemas.openxmlformats.org/officeDocument/2006/relationships/image" Target="../media/image1.emf"/><Relationship Id="rId8" Type="http://schemas.openxmlformats.org/officeDocument/2006/relationships/slideLayout" Target="../slideLayouts/slideLayout130.xml"/><Relationship Id="rId51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slideLayout" Target="../slideLayouts/slideLayout160.xml"/><Relationship Id="rId4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42.xml"/><Relationship Id="rId41" Type="http://schemas.openxmlformats.org/officeDocument/2006/relationships/slideLayout" Target="../slideLayouts/slideLayout163.xml"/><Relationship Id="rId54" Type="http://schemas.openxmlformats.org/officeDocument/2006/relationships/tags" Target="../tags/tag7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49" Type="http://schemas.openxmlformats.org/officeDocument/2006/relationships/slideLayout" Target="../slideLayouts/slideLayout1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76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83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slideLayout" Target="../slideLayouts/slideLayout194.xml"/><Relationship Id="rId7" Type="http://schemas.openxmlformats.org/officeDocument/2006/relationships/vmlDrawing" Target="../drawings/vmlDrawing8.v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theme" Target="../theme/theme8.xml"/><Relationship Id="rId5" Type="http://schemas.openxmlformats.org/officeDocument/2006/relationships/slideLayout" Target="../slideLayouts/slideLayout19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95.xml"/><Relationship Id="rId9" Type="http://schemas.openxmlformats.org/officeDocument/2006/relationships/oleObject" Target="../embeddings/oleObject8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heme" Target="../theme/theme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5DE0337-A0E6-4565-8E16-F129C22833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21802487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52" imgW="216" imgH="216" progId="TCLayout.ActiveDocument.1">
                  <p:embed/>
                </p:oleObj>
              </mc:Choice>
              <mc:Fallback>
                <p:oleObj name="think-cell Slide" r:id="rId52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5DE0337-A0E6-4565-8E16-F129C22833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5A6CD91-155C-2C44-957D-8AF1722DE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730AC-87CD-0A49-840C-38E616222F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65195" y="7615599"/>
            <a:ext cx="3148005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02ACFBD-07D0-C143-ADB8-21E6C0D70DAF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383135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953" r:id="rId2"/>
    <p:sldLayoutId id="2147483969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968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970" r:id="rId20"/>
    <p:sldLayoutId id="2147483710" r:id="rId21"/>
    <p:sldLayoutId id="2147483711" r:id="rId22"/>
    <p:sldLayoutId id="2147483712" r:id="rId23"/>
    <p:sldLayoutId id="2147483967" r:id="rId24"/>
    <p:sldLayoutId id="2147483966" r:id="rId25"/>
    <p:sldLayoutId id="2147483715" r:id="rId26"/>
    <p:sldLayoutId id="2147483716" r:id="rId27"/>
    <p:sldLayoutId id="2147483717" r:id="rId28"/>
    <p:sldLayoutId id="2147483718" r:id="rId29"/>
    <p:sldLayoutId id="2147483719" r:id="rId30"/>
    <p:sldLayoutId id="2147483720" r:id="rId31"/>
    <p:sldLayoutId id="2147483961" r:id="rId32"/>
    <p:sldLayoutId id="2147483722" r:id="rId33"/>
    <p:sldLayoutId id="2147483723" r:id="rId34"/>
    <p:sldLayoutId id="2147483725" r:id="rId35"/>
    <p:sldLayoutId id="2147483726" r:id="rId36"/>
    <p:sldLayoutId id="2147483724" r:id="rId37"/>
    <p:sldLayoutId id="2147483727" r:id="rId38"/>
    <p:sldLayoutId id="2147483729" r:id="rId39"/>
    <p:sldLayoutId id="2147483733" r:id="rId40"/>
    <p:sldLayoutId id="2147483962" r:id="rId41"/>
    <p:sldLayoutId id="2147483963" r:id="rId42"/>
    <p:sldLayoutId id="2147483731" r:id="rId43"/>
    <p:sldLayoutId id="2147483734" r:id="rId44"/>
    <p:sldLayoutId id="2147483736" r:id="rId45"/>
    <p:sldLayoutId id="2147483739" r:id="rId46"/>
    <p:sldLayoutId id="2147483964" r:id="rId47"/>
    <p:sldLayoutId id="2147483965" r:id="rId48"/>
  </p:sldLayoutIdLst>
  <p:hf hdr="0" dt="0"/>
  <p:txStyles>
    <p:titleStyle>
      <a:lvl1pPr algn="l" defTabSz="822878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20" indent="-205720" algn="l" defTabSz="822878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59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597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36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476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2914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355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792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231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40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878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19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756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195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633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72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512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92" userDrawn="1">
          <p15:clr>
            <a:srgbClr val="FDE53C"/>
          </p15:clr>
        </p15:guide>
        <p15:guide id="8" pos="1862" userDrawn="1">
          <p15:clr>
            <a:srgbClr val="FDE53C"/>
          </p15:clr>
        </p15:guide>
        <p15:guide id="15" orient="horz" pos="4896" userDrawn="1">
          <p15:clr>
            <a:srgbClr val="F26B43"/>
          </p15:clr>
        </p15:guide>
        <p15:guide id="16" pos="6696" userDrawn="1">
          <p15:clr>
            <a:srgbClr val="FDE53C"/>
          </p15:clr>
        </p15:guide>
        <p15:guide id="17" pos="216" userDrawn="1">
          <p15:clr>
            <a:srgbClr val="FDE53C"/>
          </p15:clr>
        </p15:guide>
        <p15:guide id="19" orient="horz" pos="288" userDrawn="1">
          <p15:clr>
            <a:srgbClr val="F26B43"/>
          </p15:clr>
        </p15:guide>
        <p15:guide id="20" pos="3425" userDrawn="1">
          <p15:clr>
            <a:srgbClr val="FDE53C"/>
          </p15:clr>
        </p15:guide>
        <p15:guide id="21" pos="3497" userDrawn="1">
          <p15:clr>
            <a:srgbClr val="FDE53C"/>
          </p15:clr>
        </p15:guide>
        <p15:guide id="22" pos="5066" userDrawn="1">
          <p15:clr>
            <a:srgbClr val="FDE53C"/>
          </p15:clr>
        </p15:guide>
        <p15:guide id="23" pos="5138" userDrawn="1">
          <p15:clr>
            <a:srgbClr val="FDE53C"/>
          </p15:clr>
        </p15:guide>
        <p15:guide id="24" pos="1800" userDrawn="1">
          <p15:clr>
            <a:srgbClr val="FDE53C"/>
          </p15:clr>
        </p15:guide>
        <p15:guide id="25" pos="1244" userDrawn="1">
          <p15:clr>
            <a:srgbClr val="FDE53C"/>
          </p15:clr>
        </p15:guide>
        <p15:guide id="26" pos="1316" userDrawn="1">
          <p15:clr>
            <a:srgbClr val="FDE53C"/>
          </p15:clr>
        </p15:guide>
        <p15:guide id="27" pos="2333" userDrawn="1">
          <p15:clr>
            <a:srgbClr val="FDE53C"/>
          </p15:clr>
        </p15:guide>
        <p15:guide id="28" pos="2404" userDrawn="1">
          <p15:clr>
            <a:srgbClr val="FDE53C"/>
          </p15:clr>
        </p15:guide>
        <p15:guide id="29" pos="4512" userDrawn="1">
          <p15:clr>
            <a:srgbClr val="FDE53C"/>
          </p15:clr>
        </p15:guide>
        <p15:guide id="30" pos="4577" userDrawn="1">
          <p15:clr>
            <a:srgbClr val="FDE53C"/>
          </p15:clr>
        </p15:guide>
        <p15:guide id="31" pos="5597" userDrawn="1">
          <p15:clr>
            <a:srgbClr val="FDE53C"/>
          </p15:clr>
        </p15:guide>
        <p15:guide id="32" pos="5668" userDrawn="1">
          <p15:clr>
            <a:srgbClr val="FDE53C"/>
          </p15:clr>
        </p15:guide>
        <p15:guide id="33" pos="5433" userDrawn="1">
          <p15:clr>
            <a:srgbClr val="FDE53C"/>
          </p15:clr>
        </p15:guide>
        <p15:guide id="34" orient="horz" pos="2692" userDrawn="1">
          <p15:clr>
            <a:srgbClr val="F26B43"/>
          </p15:clr>
        </p15:guide>
        <p15:guide id="35" pos="3456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4380" y="438152"/>
            <a:ext cx="946404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4380" y="2190750"/>
            <a:ext cx="946404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4380" y="7627622"/>
            <a:ext cx="246888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4740" y="7627622"/>
            <a:ext cx="370332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9540" y="7627622"/>
            <a:ext cx="246888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0DFC24A-4CBA-4683-80CB-0FEC85A1FA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0DFC24A-4CBA-4683-80CB-0FEC85A1FA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63250AC8-2FD5-436A-9875-62779EF8AD29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2832196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216" r:id="rId13"/>
    <p:sldLayoutId id="2147484298" r:id="rId14"/>
  </p:sldLayoutIdLst>
  <p:hf hd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592" userDrawn="1">
          <p15:clr>
            <a:srgbClr val="FDE53C"/>
          </p15:clr>
        </p15:guide>
        <p15:guide id="2" pos="1862" userDrawn="1">
          <p15:clr>
            <a:srgbClr val="FDE53C"/>
          </p15:clr>
        </p15:guide>
        <p15:guide id="3" orient="horz" pos="4896" userDrawn="1">
          <p15:clr>
            <a:srgbClr val="F26B43"/>
          </p15:clr>
        </p15:guide>
        <p15:guide id="4" pos="6696" userDrawn="1">
          <p15:clr>
            <a:srgbClr val="FDE53C"/>
          </p15:clr>
        </p15:guide>
        <p15:guide id="5" pos="216" userDrawn="1">
          <p15:clr>
            <a:srgbClr val="FDE53C"/>
          </p15:clr>
        </p15:guide>
        <p15:guide id="6" orient="horz" pos="288" userDrawn="1">
          <p15:clr>
            <a:srgbClr val="F26B43"/>
          </p15:clr>
        </p15:guide>
        <p15:guide id="7" pos="3425" userDrawn="1">
          <p15:clr>
            <a:srgbClr val="FDE53C"/>
          </p15:clr>
        </p15:guide>
        <p15:guide id="8" pos="3497" userDrawn="1">
          <p15:clr>
            <a:srgbClr val="FDE53C"/>
          </p15:clr>
        </p15:guide>
        <p15:guide id="9" pos="5066" userDrawn="1">
          <p15:clr>
            <a:srgbClr val="FDE53C"/>
          </p15:clr>
        </p15:guide>
        <p15:guide id="10" pos="5138" userDrawn="1">
          <p15:clr>
            <a:srgbClr val="FDE53C"/>
          </p15:clr>
        </p15:guide>
        <p15:guide id="11" pos="1800" userDrawn="1">
          <p15:clr>
            <a:srgbClr val="FDE53C"/>
          </p15:clr>
        </p15:guide>
        <p15:guide id="12" pos="1244" userDrawn="1">
          <p15:clr>
            <a:srgbClr val="FDE53C"/>
          </p15:clr>
        </p15:guide>
        <p15:guide id="13" pos="1316" userDrawn="1">
          <p15:clr>
            <a:srgbClr val="FDE53C"/>
          </p15:clr>
        </p15:guide>
        <p15:guide id="14" pos="2333" userDrawn="1">
          <p15:clr>
            <a:srgbClr val="FDE53C"/>
          </p15:clr>
        </p15:guide>
        <p15:guide id="15" pos="2404" userDrawn="1">
          <p15:clr>
            <a:srgbClr val="FDE53C"/>
          </p15:clr>
        </p15:guide>
        <p15:guide id="16" pos="4512" userDrawn="1">
          <p15:clr>
            <a:srgbClr val="FDE53C"/>
          </p15:clr>
        </p15:guide>
        <p15:guide id="17" pos="4577" userDrawn="1">
          <p15:clr>
            <a:srgbClr val="FDE53C"/>
          </p15:clr>
        </p15:guide>
        <p15:guide id="18" pos="5597" userDrawn="1">
          <p15:clr>
            <a:srgbClr val="FDE53C"/>
          </p15:clr>
        </p15:guide>
        <p15:guide id="19" pos="5668" userDrawn="1">
          <p15:clr>
            <a:srgbClr val="FDE53C"/>
          </p15:clr>
        </p15:guide>
        <p15:guide id="20" pos="5433" userDrawn="1">
          <p15:clr>
            <a:srgbClr val="FDE53C"/>
          </p15:clr>
        </p15:guide>
        <p15:guide id="21" orient="horz" pos="2692" userDrawn="1">
          <p15:clr>
            <a:srgbClr val="F26B43"/>
          </p15:clr>
        </p15:guide>
        <p15:guide id="22" pos="3456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208BFB1-03C0-A54E-81CC-26C645BD89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20" imgW="7772400" imgH="10058400" progId="TCLayout.ActiveDocument.1">
                  <p:embed/>
                </p:oleObj>
              </mc:Choice>
              <mc:Fallback>
                <p:oleObj name="think-cell Slide" r:id="rId20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208BFB1-03C0-A54E-81CC-26C645BD89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A790616-0AA7-B34E-99E2-D3D3C3AAC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8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ECEC9741-1493-EA47-837F-1F3A050755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A834CCC7-3947-D345-8E79-92C9B0061AB6}"/>
              </a:ext>
            </a:extLst>
          </p:cNvPr>
          <p:cNvSpPr txBox="1">
            <a:spLocks/>
          </p:cNvSpPr>
          <p:nvPr userDrawn="1"/>
        </p:nvSpPr>
        <p:spPr>
          <a:xfrm>
            <a:off x="275755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538628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8" r:id="rId1"/>
    <p:sldLayoutId id="2147484219" r:id="rId2"/>
    <p:sldLayoutId id="2147484220" r:id="rId3"/>
    <p:sldLayoutId id="2147484221" r:id="rId4"/>
    <p:sldLayoutId id="2147484222" r:id="rId5"/>
    <p:sldLayoutId id="2147484223" r:id="rId6"/>
    <p:sldLayoutId id="2147484224" r:id="rId7"/>
    <p:sldLayoutId id="2147484225" r:id="rId8"/>
    <p:sldLayoutId id="2147484226" r:id="rId9"/>
    <p:sldLayoutId id="2147484227" r:id="rId10"/>
    <p:sldLayoutId id="2147484228" r:id="rId11"/>
    <p:sldLayoutId id="2147484229" r:id="rId12"/>
    <p:sldLayoutId id="2147484230" r:id="rId13"/>
    <p:sldLayoutId id="2147484231" r:id="rId14"/>
    <p:sldLayoutId id="2147484232" r:id="rId15"/>
    <p:sldLayoutId id="2147484234" r:id="rId16"/>
  </p:sldLayoutIdLst>
  <p:hf hdr="0" dt="0"/>
  <p:txStyles>
    <p:titleStyle>
      <a:lvl1pPr algn="l" defTabSz="82294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05735" indent="-205735" algn="l" defTabSz="82294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204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75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44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614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84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553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6023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92" indent="-205735" algn="l" defTabSz="82294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70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40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409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79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348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819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88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758" algn="l" defTabSz="82294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88">
          <p15:clr>
            <a:srgbClr val="FDE53C"/>
          </p15:clr>
        </p15:guide>
        <p15:guide id="4" pos="8928">
          <p15:clr>
            <a:srgbClr val="FDE53C"/>
          </p15:clr>
        </p15:guide>
        <p15:guide id="5" orient="horz" pos="288">
          <p15:clr>
            <a:srgbClr val="F26B43"/>
          </p15:clr>
        </p15:guide>
        <p15:guide id="6" orient="horz" pos="4896">
          <p15:clr>
            <a:srgbClr val="F26B43"/>
          </p15:clr>
        </p15:guide>
        <p15:guide id="7" orient="horz" pos="2592">
          <p15:clr>
            <a:srgbClr val="F26B43"/>
          </p15:clr>
        </p15:guide>
        <p15:guide id="8" pos="1656">
          <p15:clr>
            <a:srgbClr val="FDE53C"/>
          </p15:clr>
        </p15:guide>
        <p15:guide id="9" pos="1752">
          <p15:clr>
            <a:srgbClr val="FDE53C"/>
          </p15:clr>
        </p15:guide>
        <p15:guide id="10" pos="2388">
          <p15:clr>
            <a:srgbClr val="FDE53C"/>
          </p15:clr>
        </p15:guide>
        <p15:guide id="11" pos="2481">
          <p15:clr>
            <a:srgbClr val="FDE53C"/>
          </p15:clr>
        </p15:guide>
        <p15:guide id="12" pos="3103">
          <p15:clr>
            <a:srgbClr val="FDE53C"/>
          </p15:clr>
        </p15:guide>
        <p15:guide id="13" pos="3203">
          <p15:clr>
            <a:srgbClr val="FDE53C"/>
          </p15:clr>
        </p15:guide>
        <p15:guide id="14" pos="4562">
          <p15:clr>
            <a:srgbClr val="FDE53C"/>
          </p15:clr>
        </p15:guide>
        <p15:guide id="15" pos="4656">
          <p15:clr>
            <a:srgbClr val="FDE53C"/>
          </p15:clr>
        </p15:guide>
        <p15:guide id="16" pos="6013">
          <p15:clr>
            <a:srgbClr val="FDE53C"/>
          </p15:clr>
        </p15:guide>
        <p15:guide id="17" pos="6106">
          <p15:clr>
            <a:srgbClr val="FDE53C"/>
          </p15:clr>
        </p15:guide>
        <p15:guide id="18" pos="6751">
          <p15:clr>
            <a:srgbClr val="FDE53C"/>
          </p15:clr>
        </p15:guide>
        <p15:guide id="19" pos="6851">
          <p15:clr>
            <a:srgbClr val="FDE53C"/>
          </p15:clr>
        </p15:guide>
        <p15:guide id="20" pos="7465">
          <p15:clr>
            <a:srgbClr val="FDE53C"/>
          </p15:clr>
        </p15:guide>
        <p15:guide id="21" pos="7557">
          <p15:clr>
            <a:srgbClr val="FDE53C"/>
          </p15:clr>
        </p15:guide>
        <p15:guide id="22" pos="4608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754D56-0B76-A442-88C1-DA4D5EA953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4" name="think-cell Slide" r:id="rId49" imgW="7772400" imgH="10058400" progId="TCLayout.ActiveDocument.1">
                  <p:embed/>
                </p:oleObj>
              </mc:Choice>
              <mc:Fallback>
                <p:oleObj name="think-cell Slide" r:id="rId49" imgW="7772400" imgH="1005840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754D56-0B76-A442-88C1-DA4D5EA953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5A6CD91-155C-2C44-957D-8AF1722DE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87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730AC-87CD-0A49-840C-38E616222F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65193" y="7615599"/>
            <a:ext cx="3148006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defRPr>
            </a:lvl1pPr>
          </a:lstStyle>
          <a:p>
            <a:r>
              <a:rPr lang="en-US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02ACFBD-07D0-C143-ADB8-21E6C0D70DAF}"/>
              </a:ext>
            </a:extLst>
          </p:cNvPr>
          <p:cNvSpPr txBox="1">
            <a:spLocks/>
          </p:cNvSpPr>
          <p:nvPr userDrawn="1"/>
        </p:nvSpPr>
        <p:spPr>
          <a:xfrm>
            <a:off x="275755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Segoe UI" panose="020B0502040204020203" pitchFamily="34" charset="0"/>
                <a:sym typeface="Segoe UI" panose="020B0502040204020203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2488560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6" r:id="rId1"/>
    <p:sldLayoutId id="2147484237" r:id="rId2"/>
    <p:sldLayoutId id="2147484238" r:id="rId3"/>
    <p:sldLayoutId id="2147484239" r:id="rId4"/>
    <p:sldLayoutId id="2147484240" r:id="rId5"/>
    <p:sldLayoutId id="2147484241" r:id="rId6"/>
    <p:sldLayoutId id="2147484242" r:id="rId7"/>
    <p:sldLayoutId id="2147484243" r:id="rId8"/>
    <p:sldLayoutId id="2147484244" r:id="rId9"/>
    <p:sldLayoutId id="2147484245" r:id="rId10"/>
    <p:sldLayoutId id="2147484246" r:id="rId11"/>
    <p:sldLayoutId id="2147484247" r:id="rId12"/>
    <p:sldLayoutId id="2147484248" r:id="rId13"/>
    <p:sldLayoutId id="2147484249" r:id="rId14"/>
    <p:sldLayoutId id="2147484250" r:id="rId15"/>
    <p:sldLayoutId id="2147484251" r:id="rId16"/>
    <p:sldLayoutId id="2147484252" r:id="rId17"/>
    <p:sldLayoutId id="2147484253" r:id="rId18"/>
    <p:sldLayoutId id="2147484254" r:id="rId19"/>
    <p:sldLayoutId id="2147484255" r:id="rId20"/>
    <p:sldLayoutId id="2147484256" r:id="rId21"/>
    <p:sldLayoutId id="2147484257" r:id="rId22"/>
    <p:sldLayoutId id="2147484258" r:id="rId23"/>
    <p:sldLayoutId id="2147484259" r:id="rId24"/>
    <p:sldLayoutId id="2147484260" r:id="rId25"/>
    <p:sldLayoutId id="2147484261" r:id="rId26"/>
    <p:sldLayoutId id="2147484262" r:id="rId27"/>
    <p:sldLayoutId id="2147484263" r:id="rId28"/>
    <p:sldLayoutId id="2147484264" r:id="rId29"/>
    <p:sldLayoutId id="2147484265" r:id="rId30"/>
    <p:sldLayoutId id="2147484266" r:id="rId31"/>
    <p:sldLayoutId id="2147484267" r:id="rId32"/>
    <p:sldLayoutId id="2147484268" r:id="rId33"/>
    <p:sldLayoutId id="2147484269" r:id="rId34"/>
    <p:sldLayoutId id="2147484270" r:id="rId35"/>
    <p:sldLayoutId id="2147484271" r:id="rId36"/>
    <p:sldLayoutId id="2147484272" r:id="rId37"/>
    <p:sldLayoutId id="2147484273" r:id="rId38"/>
    <p:sldLayoutId id="2147484274" r:id="rId39"/>
    <p:sldLayoutId id="2147484275" r:id="rId40"/>
    <p:sldLayoutId id="2147484276" r:id="rId41"/>
    <p:sldLayoutId id="2147484277" r:id="rId42"/>
    <p:sldLayoutId id="2147484278" r:id="rId43"/>
    <p:sldLayoutId id="2147484279" r:id="rId44"/>
    <p:sldLayoutId id="2147484280" r:id="rId45"/>
  </p:sldLayoutIdLst>
  <p:hf hdr="0" dt="0"/>
  <p:txStyles>
    <p:titleStyle>
      <a:lvl1pPr algn="l" defTabSz="822899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26" indent="-205726" algn="l" defTabSz="822899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73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22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72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22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2971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21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870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317" indent="-205726" algn="l" defTabSz="822899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50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899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49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798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45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694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144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594" algn="l" defTabSz="822899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92">
          <p15:clr>
            <a:srgbClr val="FDE53C"/>
          </p15:clr>
        </p15:guide>
        <p15:guide id="8" pos="2482">
          <p15:clr>
            <a:srgbClr val="FDE53C"/>
          </p15:clr>
        </p15:guide>
        <p15:guide id="15" orient="horz" pos="4896">
          <p15:clr>
            <a:srgbClr val="F26B43"/>
          </p15:clr>
        </p15:guide>
        <p15:guide id="16" pos="8928">
          <p15:clr>
            <a:srgbClr val="FDE53C"/>
          </p15:clr>
        </p15:guide>
        <p15:guide id="17" pos="288">
          <p15:clr>
            <a:srgbClr val="FDE53C"/>
          </p15:clr>
        </p15:guide>
        <p15:guide id="19" orient="horz" pos="288">
          <p15:clr>
            <a:srgbClr val="F26B43"/>
          </p15:clr>
        </p15:guide>
        <p15:guide id="20" pos="4567">
          <p15:clr>
            <a:srgbClr val="FDE53C"/>
          </p15:clr>
        </p15:guide>
        <p15:guide id="21" pos="4663">
          <p15:clr>
            <a:srgbClr val="FDE53C"/>
          </p15:clr>
        </p15:guide>
        <p15:guide id="22" pos="6754">
          <p15:clr>
            <a:srgbClr val="FDE53C"/>
          </p15:clr>
        </p15:guide>
        <p15:guide id="23" pos="6850">
          <p15:clr>
            <a:srgbClr val="FDE53C"/>
          </p15:clr>
        </p15:guide>
        <p15:guide id="24" pos="2400">
          <p15:clr>
            <a:srgbClr val="FDE53C"/>
          </p15:clr>
        </p15:guide>
        <p15:guide id="25" pos="1659">
          <p15:clr>
            <a:srgbClr val="FDE53C"/>
          </p15:clr>
        </p15:guide>
        <p15:guide id="26" pos="1754">
          <p15:clr>
            <a:srgbClr val="FDE53C"/>
          </p15:clr>
        </p15:guide>
        <p15:guide id="27" pos="3110">
          <p15:clr>
            <a:srgbClr val="FDE53C"/>
          </p15:clr>
        </p15:guide>
        <p15:guide id="28" pos="3205">
          <p15:clr>
            <a:srgbClr val="FDE53C"/>
          </p15:clr>
        </p15:guide>
        <p15:guide id="29" pos="6016">
          <p15:clr>
            <a:srgbClr val="FDE53C"/>
          </p15:clr>
        </p15:guide>
        <p15:guide id="30" pos="6102">
          <p15:clr>
            <a:srgbClr val="FDE53C"/>
          </p15:clr>
        </p15:guide>
        <p15:guide id="31" pos="7462">
          <p15:clr>
            <a:srgbClr val="FDE53C"/>
          </p15:clr>
        </p15:guide>
        <p15:guide id="32" pos="7557">
          <p15:clr>
            <a:srgbClr val="FDE53C"/>
          </p15:clr>
        </p15:guide>
        <p15:guide id="33" pos="7244">
          <p15:clr>
            <a:srgbClr val="FDE53C"/>
          </p15:clr>
        </p15:guide>
        <p15:guide id="34" orient="horz" pos="2692">
          <p15:clr>
            <a:srgbClr val="F26B43"/>
          </p15:clr>
        </p15:guide>
        <p15:guide id="35" pos="4608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42DC35-FA95-4A48-8E1B-665324081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192" y="1588"/>
          <a:ext cx="11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6" name="think-cell Slide" r:id="rId21" imgW="7772400" imgH="10058400" progId="TCLayout.ActiveDocument.1">
                  <p:embed/>
                </p:oleObj>
              </mc:Choice>
              <mc:Fallback>
                <p:oleObj name="think-cell Slide" r:id="rId21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42DC35-FA95-4A48-8E1B-665324081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21D510-A05D-45E6-A58E-B7BDB1FF56B1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90500" cy="190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28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4380" y="438152"/>
            <a:ext cx="9464040" cy="15906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4380" y="2190750"/>
            <a:ext cx="9464040" cy="52216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54380" y="7627622"/>
            <a:ext cx="246888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12/1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4740" y="7627622"/>
            <a:ext cx="370332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Presentation Title Here – Month 00, 00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49540" y="7627622"/>
            <a:ext cx="2468880" cy="4381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4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3B1D46D7-2E43-F343-84E8-7DB9DCB299D1}"/>
              </a:ext>
            </a:extLst>
          </p:cNvPr>
          <p:cNvSpPr txBox="1">
            <a:spLocks/>
          </p:cNvSpPr>
          <p:nvPr userDrawn="1"/>
        </p:nvSpPr>
        <p:spPr>
          <a:xfrm>
            <a:off x="275755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1394400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  <p:sldLayoutId id="2147484293" r:id="rId12"/>
    <p:sldLayoutId id="2147484294" r:id="rId13"/>
    <p:sldLayoutId id="2147484295" r:id="rId14"/>
    <p:sldLayoutId id="2147484296" r:id="rId15"/>
    <p:sldLayoutId id="2147484297" r:id="rId16"/>
  </p:sldLayoutIdLst>
  <p:hf hdr="0" dt="0"/>
  <p:txStyles>
    <p:titleStyle>
      <a:lvl1pPr algn="l" defTabSz="1097280" rtl="0" eaLnBrk="1" latinLnBrk="0" hangingPunct="1">
        <a:lnSpc>
          <a:spcPct val="90000"/>
        </a:lnSpc>
        <a:spcBef>
          <a:spcPct val="0"/>
        </a:spcBef>
        <a:buNone/>
        <a:defRPr sz="528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1097280" rtl="0" eaLnBrk="1" latinLnBrk="0" hangingPunct="1">
        <a:lnSpc>
          <a:spcPct val="90000"/>
        </a:lnSpc>
        <a:spcBef>
          <a:spcPts val="1200"/>
        </a:spcBef>
        <a:buFont typeface="Arial" panose="020B0604020202020204" pitchFamily="34" charset="0"/>
        <a:buChar char="•"/>
        <a:defRPr sz="3360" kern="1200">
          <a:solidFill>
            <a:schemeClr val="tx1"/>
          </a:solidFill>
          <a:latin typeface="+mn-lt"/>
          <a:ea typeface="+mn-ea"/>
          <a:cs typeface="+mn-cs"/>
        </a:defRPr>
      </a:lvl1pPr>
      <a:lvl2pPr marL="8229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88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46888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301752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56616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411480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663440" indent="-274320" algn="l" defTabSz="10972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972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3pPr>
      <a:lvl4pPr marL="16459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4pPr>
      <a:lvl5pPr marL="219456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5pPr>
      <a:lvl6pPr marL="274320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6pPr>
      <a:lvl7pPr marL="329184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7pPr>
      <a:lvl8pPr marL="384048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8pPr>
      <a:lvl9pPr marL="4389120" algn="l" defTabSz="1097280" rtl="0" eaLnBrk="1" latinLnBrk="0" hangingPunct="1">
        <a:defRPr sz="21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80">
          <p15:clr>
            <a:srgbClr val="FDE53C"/>
          </p15:clr>
        </p15:guide>
        <p15:guide id="2" pos="5580">
          <p15:clr>
            <a:srgbClr val="FDE53C"/>
          </p15:clr>
        </p15:guide>
        <p15:guide id="3" orient="horz" pos="240">
          <p15:clr>
            <a:srgbClr val="F26B43"/>
          </p15:clr>
        </p15:guide>
        <p15:guide id="4" orient="horz" pos="408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pos="1035">
          <p15:clr>
            <a:srgbClr val="FDE53C"/>
          </p15:clr>
        </p15:guide>
        <p15:guide id="7" pos="1095">
          <p15:clr>
            <a:srgbClr val="FDE53C"/>
          </p15:clr>
        </p15:guide>
        <p15:guide id="8" pos="1493">
          <p15:clr>
            <a:srgbClr val="FDE53C"/>
          </p15:clr>
        </p15:guide>
        <p15:guide id="9" pos="1551">
          <p15:clr>
            <a:srgbClr val="FDE53C"/>
          </p15:clr>
        </p15:guide>
        <p15:guide id="10" pos="1939">
          <p15:clr>
            <a:srgbClr val="FDE53C"/>
          </p15:clr>
        </p15:guide>
        <p15:guide id="11" pos="2002">
          <p15:clr>
            <a:srgbClr val="FDE53C"/>
          </p15:clr>
        </p15:guide>
        <p15:guide id="12" pos="2851">
          <p15:clr>
            <a:srgbClr val="FDE53C"/>
          </p15:clr>
        </p15:guide>
        <p15:guide id="13" pos="2910">
          <p15:clr>
            <a:srgbClr val="FDE53C"/>
          </p15:clr>
        </p15:guide>
        <p15:guide id="14" pos="3758">
          <p15:clr>
            <a:srgbClr val="FDE53C"/>
          </p15:clr>
        </p15:guide>
        <p15:guide id="15" pos="3816">
          <p15:clr>
            <a:srgbClr val="FDE53C"/>
          </p15:clr>
        </p15:guide>
        <p15:guide id="16" pos="4219">
          <p15:clr>
            <a:srgbClr val="FDE53C"/>
          </p15:clr>
        </p15:guide>
        <p15:guide id="17" pos="4282">
          <p15:clr>
            <a:srgbClr val="FDE53C"/>
          </p15:clr>
        </p15:guide>
        <p15:guide id="18" pos="4666">
          <p15:clr>
            <a:srgbClr val="FDE53C"/>
          </p15:clr>
        </p15:guide>
        <p15:guide id="19" pos="4723">
          <p15:clr>
            <a:srgbClr val="FDE53C"/>
          </p15:clr>
        </p15:guide>
        <p15:guide id="20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3D0782-540D-4152-88A3-F3D8BB559C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830873589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83D0782-540D-4152-88A3-F3D8BB559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A790616-0AA7-B34E-99E2-D3D3C3AAC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ECEC9741-1493-EA47-837F-1F3A050755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11697F0-2D01-D44C-A95C-3F0F28B1C729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128980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960" r:id="rId9"/>
    <p:sldLayoutId id="2147483794" r:id="rId10"/>
    <p:sldLayoutId id="2147483795" r:id="rId11"/>
    <p:sldLayoutId id="2147483796" r:id="rId12"/>
    <p:sldLayoutId id="2147483728" r:id="rId13"/>
    <p:sldLayoutId id="2147483797" r:id="rId14"/>
    <p:sldLayoutId id="2147483798" r:id="rId15"/>
    <p:sldLayoutId id="2147483799" r:id="rId16"/>
    <p:sldLayoutId id="2147483800" r:id="rId17"/>
  </p:sldLayoutIdLst>
  <p:hf hdr="0" dt="0"/>
  <p:txStyles>
    <p:titleStyle>
      <a:lvl1pPr algn="l" defTabSz="82292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05730" indent="-205730" algn="l" defTabSz="82292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8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4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6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2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87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46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05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9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8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9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5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1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7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16" userDrawn="1">
          <p15:clr>
            <a:srgbClr val="FDE53C"/>
          </p15:clr>
        </p15:guide>
        <p15:guide id="4" pos="6696" userDrawn="1">
          <p15:clr>
            <a:srgbClr val="FDE53C"/>
          </p15:clr>
        </p15:guide>
        <p15:guide id="5" orient="horz" pos="288" userDrawn="1">
          <p15:clr>
            <a:srgbClr val="F26B43"/>
          </p15:clr>
        </p15:guide>
        <p15:guide id="6" orient="horz" pos="4896" userDrawn="1">
          <p15:clr>
            <a:srgbClr val="F26B43"/>
          </p15:clr>
        </p15:guide>
        <p15:guide id="7" orient="horz" pos="2592" userDrawn="1">
          <p15:clr>
            <a:srgbClr val="F26B43"/>
          </p15:clr>
        </p15:guide>
        <p15:guide id="8" pos="1242" userDrawn="1">
          <p15:clr>
            <a:srgbClr val="FDE53C"/>
          </p15:clr>
        </p15:guide>
        <p15:guide id="9" pos="1314" userDrawn="1">
          <p15:clr>
            <a:srgbClr val="FDE53C"/>
          </p15:clr>
        </p15:guide>
        <p15:guide id="10" pos="1791" userDrawn="1">
          <p15:clr>
            <a:srgbClr val="FDE53C"/>
          </p15:clr>
        </p15:guide>
        <p15:guide id="11" pos="1861" userDrawn="1">
          <p15:clr>
            <a:srgbClr val="FDE53C"/>
          </p15:clr>
        </p15:guide>
        <p15:guide id="12" pos="2327" userDrawn="1">
          <p15:clr>
            <a:srgbClr val="FDE53C"/>
          </p15:clr>
        </p15:guide>
        <p15:guide id="13" pos="2402" userDrawn="1">
          <p15:clr>
            <a:srgbClr val="FDE53C"/>
          </p15:clr>
        </p15:guide>
        <p15:guide id="14" pos="3422" userDrawn="1">
          <p15:clr>
            <a:srgbClr val="FDE53C"/>
          </p15:clr>
        </p15:guide>
        <p15:guide id="15" pos="3492" userDrawn="1">
          <p15:clr>
            <a:srgbClr val="FDE53C"/>
          </p15:clr>
        </p15:guide>
        <p15:guide id="16" pos="4510" userDrawn="1">
          <p15:clr>
            <a:srgbClr val="FDE53C"/>
          </p15:clr>
        </p15:guide>
        <p15:guide id="17" pos="4580" userDrawn="1">
          <p15:clr>
            <a:srgbClr val="FDE53C"/>
          </p15:clr>
        </p15:guide>
        <p15:guide id="18" pos="5063" userDrawn="1">
          <p15:clr>
            <a:srgbClr val="FDE53C"/>
          </p15:clr>
        </p15:guide>
        <p15:guide id="19" pos="5138" userDrawn="1">
          <p15:clr>
            <a:srgbClr val="FDE53C"/>
          </p15:clr>
        </p15:guide>
        <p15:guide id="20" pos="5599" userDrawn="1">
          <p15:clr>
            <a:srgbClr val="FDE53C"/>
          </p15:clr>
        </p15:guide>
        <p15:guide id="21" pos="5668" userDrawn="1">
          <p15:clr>
            <a:srgbClr val="FDE53C"/>
          </p15:clr>
        </p15:guide>
        <p15:guide id="22" pos="3456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54FBD2-022A-46D6-95B8-302D7E82D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67401065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54FBD2-022A-46D6-95B8-302D7E82D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B320BE-912E-6B4E-AF2C-58871F0345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55098969-EFD1-3A44-9E2B-FCEE13442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52152FE4-9E13-4042-9AA8-F6CFA664296B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118770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9" r:id="rId5"/>
  </p:sldLayoutIdLst>
  <p:hf hdr="0" dt="0"/>
  <p:txStyles>
    <p:titleStyle>
      <a:lvl1pPr algn="l" defTabSz="822920" rtl="0" eaLnBrk="1" latinLnBrk="0" hangingPunct="1">
        <a:lnSpc>
          <a:spcPct val="90000"/>
        </a:lnSpc>
        <a:spcBef>
          <a:spcPct val="0"/>
        </a:spcBef>
        <a:buNone/>
        <a:defRPr sz="3960" b="0" i="0" kern="1200">
          <a:solidFill>
            <a:schemeClr val="tx1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05730" indent="-205730" algn="l" defTabSz="82292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8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4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6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2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87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46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05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9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8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9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5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1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7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56" userDrawn="1">
          <p15:clr>
            <a:srgbClr val="FDE53C"/>
          </p15:clr>
        </p15:guide>
        <p15:guide id="2" orient="horz" pos="2592" userDrawn="1">
          <p15:clr>
            <a:srgbClr val="FDE53C"/>
          </p15:clr>
        </p15:guide>
        <p15:guide id="3" pos="6696" userDrawn="1">
          <p15:clr>
            <a:srgbClr val="FDE53C"/>
          </p15:clr>
        </p15:guide>
        <p15:guide id="4" pos="216" userDrawn="1">
          <p15:clr>
            <a:srgbClr val="FDE53C"/>
          </p15:clr>
        </p15:guide>
        <p15:guide id="5" orient="horz" pos="4896" userDrawn="1">
          <p15:clr>
            <a:srgbClr val="F26B43"/>
          </p15:clr>
        </p15:guide>
        <p15:guide id="6" orient="horz" pos="288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6364E7-F026-4824-8F40-6AC78B993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58529794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6364E7-F026-4824-8F40-6AC78B993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1B5C7D9-1BA1-9F45-94FC-489A805C9B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6AFD8706-659A-B94F-B962-651685FF32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7599D5F-A1E6-2147-9C2C-31AF1F05525B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2999724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0" r:id="rId2"/>
  </p:sldLayoutIdLst>
  <p:hf hdr="0" dt="0"/>
  <p:txStyles>
    <p:titleStyle>
      <a:lvl1pPr algn="l" defTabSz="82292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30" indent="-205730" algn="l" defTabSz="82292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8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4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6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2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87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46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05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9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8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9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5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1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7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56" userDrawn="1">
          <p15:clr>
            <a:srgbClr val="FDE53C"/>
          </p15:clr>
        </p15:guide>
        <p15:guide id="2" pos="6696" userDrawn="1">
          <p15:clr>
            <a:srgbClr val="FDE53C"/>
          </p15:clr>
        </p15:guide>
        <p15:guide id="3" pos="216" userDrawn="1">
          <p15:clr>
            <a:srgbClr val="FDE53C"/>
          </p15:clr>
        </p15:guide>
        <p15:guide id="4" orient="horz" pos="2592" userDrawn="1">
          <p15:clr>
            <a:srgbClr val="FDE53C"/>
          </p15:clr>
        </p15:guide>
        <p15:guide id="5" orient="horz" pos="288" userDrawn="1">
          <p15:clr>
            <a:srgbClr val="F26B43"/>
          </p15:clr>
        </p15:guide>
        <p15:guide id="6" orient="horz" pos="4896" userDrawn="1">
          <p15:clr>
            <a:srgbClr val="F26B43"/>
          </p15:clr>
        </p15:guide>
        <p15:guide id="7" pos="31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E8EB9C-E8E3-4AAD-B12A-E05878069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1521685298"/>
              </p:ext>
            </p:ext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54" imgW="216" imgH="216" progId="TCLayout.ActiveDocument.1">
                  <p:embed/>
                </p:oleObj>
              </mc:Choice>
              <mc:Fallback>
                <p:oleObj name="think-cell Slide" r:id="rId54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2E8EB9C-E8E3-4AAD-B12A-E05878069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5A6CD91-155C-2C44-957D-8AF1722DE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730AC-87CD-0A49-840C-38E616222F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65195" y="7615599"/>
            <a:ext cx="3148005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02ACFBD-07D0-C143-ADB8-21E6C0D70DAF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3287573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  <p:sldLayoutId id="2147483997" r:id="rId19"/>
    <p:sldLayoutId id="2147483998" r:id="rId20"/>
    <p:sldLayoutId id="2147483999" r:id="rId21"/>
    <p:sldLayoutId id="2147484000" r:id="rId22"/>
    <p:sldLayoutId id="2147484001" r:id="rId23"/>
    <p:sldLayoutId id="2147484002" r:id="rId24"/>
    <p:sldLayoutId id="2147484003" r:id="rId25"/>
    <p:sldLayoutId id="2147484004" r:id="rId26"/>
    <p:sldLayoutId id="2147484005" r:id="rId27"/>
    <p:sldLayoutId id="2147484006" r:id="rId28"/>
    <p:sldLayoutId id="2147484007" r:id="rId29"/>
    <p:sldLayoutId id="2147484008" r:id="rId30"/>
    <p:sldLayoutId id="2147484009" r:id="rId31"/>
    <p:sldLayoutId id="2147484010" r:id="rId32"/>
    <p:sldLayoutId id="2147484011" r:id="rId33"/>
    <p:sldLayoutId id="2147484012" r:id="rId34"/>
    <p:sldLayoutId id="2147484013" r:id="rId35"/>
    <p:sldLayoutId id="2147484014" r:id="rId36"/>
    <p:sldLayoutId id="2147484015" r:id="rId37"/>
    <p:sldLayoutId id="2147484016" r:id="rId38"/>
    <p:sldLayoutId id="2147484017" r:id="rId39"/>
    <p:sldLayoutId id="2147484018" r:id="rId40"/>
    <p:sldLayoutId id="2147484019" r:id="rId41"/>
    <p:sldLayoutId id="2147484020" r:id="rId42"/>
    <p:sldLayoutId id="2147484021" r:id="rId43"/>
    <p:sldLayoutId id="2147484022" r:id="rId44"/>
    <p:sldLayoutId id="2147484023" r:id="rId45"/>
    <p:sldLayoutId id="2147484024" r:id="rId46"/>
    <p:sldLayoutId id="2147484025" r:id="rId47"/>
    <p:sldLayoutId id="2147484026" r:id="rId48"/>
    <p:sldLayoutId id="2147484027" r:id="rId49"/>
    <p:sldLayoutId id="2147484030" r:id="rId50"/>
  </p:sldLayoutIdLst>
  <p:hf hdr="0" dt="0"/>
  <p:txStyles>
    <p:titleStyle>
      <a:lvl1pPr algn="l" defTabSz="822878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20" indent="-205720" algn="l" defTabSz="822878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59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597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36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476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2914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355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792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231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40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878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19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756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195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633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72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512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92" userDrawn="1">
          <p15:clr>
            <a:srgbClr val="FDE53C"/>
          </p15:clr>
        </p15:guide>
        <p15:guide id="8" pos="1862" userDrawn="1">
          <p15:clr>
            <a:srgbClr val="FDE53C"/>
          </p15:clr>
        </p15:guide>
        <p15:guide id="15" orient="horz" pos="4896" userDrawn="1">
          <p15:clr>
            <a:srgbClr val="F26B43"/>
          </p15:clr>
        </p15:guide>
        <p15:guide id="16" pos="6696" userDrawn="1">
          <p15:clr>
            <a:srgbClr val="FDE53C"/>
          </p15:clr>
        </p15:guide>
        <p15:guide id="17" pos="216" userDrawn="1">
          <p15:clr>
            <a:srgbClr val="FDE53C"/>
          </p15:clr>
        </p15:guide>
        <p15:guide id="19" orient="horz" pos="288" userDrawn="1">
          <p15:clr>
            <a:srgbClr val="F26B43"/>
          </p15:clr>
        </p15:guide>
        <p15:guide id="20" pos="3425" userDrawn="1">
          <p15:clr>
            <a:srgbClr val="FDE53C"/>
          </p15:clr>
        </p15:guide>
        <p15:guide id="21" pos="3497" userDrawn="1">
          <p15:clr>
            <a:srgbClr val="FDE53C"/>
          </p15:clr>
        </p15:guide>
        <p15:guide id="22" pos="5066" userDrawn="1">
          <p15:clr>
            <a:srgbClr val="FDE53C"/>
          </p15:clr>
        </p15:guide>
        <p15:guide id="23" pos="5138" userDrawn="1">
          <p15:clr>
            <a:srgbClr val="FDE53C"/>
          </p15:clr>
        </p15:guide>
        <p15:guide id="24" pos="1800" userDrawn="1">
          <p15:clr>
            <a:srgbClr val="FDE53C"/>
          </p15:clr>
        </p15:guide>
        <p15:guide id="25" pos="1244" userDrawn="1">
          <p15:clr>
            <a:srgbClr val="FDE53C"/>
          </p15:clr>
        </p15:guide>
        <p15:guide id="26" pos="1316" userDrawn="1">
          <p15:clr>
            <a:srgbClr val="FDE53C"/>
          </p15:clr>
        </p15:guide>
        <p15:guide id="27" pos="2333" userDrawn="1">
          <p15:clr>
            <a:srgbClr val="FDE53C"/>
          </p15:clr>
        </p15:guide>
        <p15:guide id="28" pos="2404" userDrawn="1">
          <p15:clr>
            <a:srgbClr val="FDE53C"/>
          </p15:clr>
        </p15:guide>
        <p15:guide id="29" pos="4512" userDrawn="1">
          <p15:clr>
            <a:srgbClr val="FDE53C"/>
          </p15:clr>
        </p15:guide>
        <p15:guide id="30" pos="4577" userDrawn="1">
          <p15:clr>
            <a:srgbClr val="FDE53C"/>
          </p15:clr>
        </p15:guide>
        <p15:guide id="31" pos="5597" userDrawn="1">
          <p15:clr>
            <a:srgbClr val="FDE53C"/>
          </p15:clr>
        </p15:guide>
        <p15:guide id="32" pos="5668" userDrawn="1">
          <p15:clr>
            <a:srgbClr val="FDE53C"/>
          </p15:clr>
        </p15:guide>
        <p15:guide id="33" pos="5433" userDrawn="1">
          <p15:clr>
            <a:srgbClr val="FDE53C"/>
          </p15:clr>
        </p15:guide>
        <p15:guide id="34" orient="horz" pos="2692" userDrawn="1">
          <p15:clr>
            <a:srgbClr val="F26B43"/>
          </p15:clr>
        </p15:guide>
        <p15:guide id="35" pos="3456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2E8EB9C-E8E3-4AAD-B12A-E058780698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55" imgW="216" imgH="216" progId="TCLayout.ActiveDocument.1">
                  <p:embed/>
                </p:oleObj>
              </mc:Choice>
              <mc:Fallback>
                <p:oleObj name="think-cell Slide" r:id="rId55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2E8EB9C-E8E3-4AAD-B12A-E058780698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6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5A6CD91-155C-2C44-957D-8AF1722DE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9730AC-87CD-0A49-840C-38E616222F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65195" y="7615599"/>
            <a:ext cx="3148005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002ACFBD-07D0-C143-ADB8-21E6C0D70DAF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2302692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  <p:sldLayoutId id="2147484045" r:id="rId12"/>
    <p:sldLayoutId id="2147484046" r:id="rId13"/>
    <p:sldLayoutId id="2147484047" r:id="rId14"/>
    <p:sldLayoutId id="2147484048" r:id="rId15"/>
    <p:sldLayoutId id="2147484049" r:id="rId16"/>
    <p:sldLayoutId id="2147484050" r:id="rId17"/>
    <p:sldLayoutId id="2147484051" r:id="rId18"/>
    <p:sldLayoutId id="2147484052" r:id="rId19"/>
    <p:sldLayoutId id="2147484053" r:id="rId20"/>
    <p:sldLayoutId id="2147484054" r:id="rId21"/>
    <p:sldLayoutId id="2147484055" r:id="rId22"/>
    <p:sldLayoutId id="2147484056" r:id="rId23"/>
    <p:sldLayoutId id="2147484057" r:id="rId24"/>
    <p:sldLayoutId id="2147484058" r:id="rId25"/>
    <p:sldLayoutId id="2147484059" r:id="rId26"/>
    <p:sldLayoutId id="2147484060" r:id="rId27"/>
    <p:sldLayoutId id="2147484061" r:id="rId28"/>
    <p:sldLayoutId id="2147484062" r:id="rId29"/>
    <p:sldLayoutId id="2147484063" r:id="rId30"/>
    <p:sldLayoutId id="2147484064" r:id="rId31"/>
    <p:sldLayoutId id="2147484065" r:id="rId32"/>
    <p:sldLayoutId id="2147484066" r:id="rId33"/>
    <p:sldLayoutId id="2147484067" r:id="rId34"/>
    <p:sldLayoutId id="2147484068" r:id="rId35"/>
    <p:sldLayoutId id="2147484069" r:id="rId36"/>
    <p:sldLayoutId id="2147484070" r:id="rId37"/>
    <p:sldLayoutId id="2147484071" r:id="rId38"/>
    <p:sldLayoutId id="2147484072" r:id="rId39"/>
    <p:sldLayoutId id="2147484073" r:id="rId40"/>
    <p:sldLayoutId id="2147484074" r:id="rId41"/>
    <p:sldLayoutId id="2147484075" r:id="rId42"/>
    <p:sldLayoutId id="2147484076" r:id="rId43"/>
    <p:sldLayoutId id="2147484077" r:id="rId44"/>
    <p:sldLayoutId id="2147484078" r:id="rId45"/>
    <p:sldLayoutId id="2147484079" r:id="rId46"/>
    <p:sldLayoutId id="2147484080" r:id="rId47"/>
    <p:sldLayoutId id="2147484081" r:id="rId48"/>
    <p:sldLayoutId id="2147484082" r:id="rId49"/>
    <p:sldLayoutId id="2147484083" r:id="rId50"/>
    <p:sldLayoutId id="2147484084" r:id="rId51"/>
  </p:sldLayoutIdLst>
  <p:hf hdr="0" dt="0"/>
  <p:txStyles>
    <p:titleStyle>
      <a:lvl1pPr algn="l" defTabSz="822878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20" indent="-205720" algn="l" defTabSz="822878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59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597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36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476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2914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355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792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231" indent="-205720" algn="l" defTabSz="822878" rtl="0" eaLnBrk="1" latinLnBrk="0" hangingPunct="1">
        <a:lnSpc>
          <a:spcPct val="90000"/>
        </a:lnSpc>
        <a:spcBef>
          <a:spcPts val="451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40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878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19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756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195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633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072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512" algn="l" defTabSz="822878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592" userDrawn="1">
          <p15:clr>
            <a:srgbClr val="FDE53C"/>
          </p15:clr>
        </p15:guide>
        <p15:guide id="8" pos="1862" userDrawn="1">
          <p15:clr>
            <a:srgbClr val="FDE53C"/>
          </p15:clr>
        </p15:guide>
        <p15:guide id="15" orient="horz" pos="4896" userDrawn="1">
          <p15:clr>
            <a:srgbClr val="F26B43"/>
          </p15:clr>
        </p15:guide>
        <p15:guide id="16" pos="6696" userDrawn="1">
          <p15:clr>
            <a:srgbClr val="FDE53C"/>
          </p15:clr>
        </p15:guide>
        <p15:guide id="17" pos="216" userDrawn="1">
          <p15:clr>
            <a:srgbClr val="FDE53C"/>
          </p15:clr>
        </p15:guide>
        <p15:guide id="19" orient="horz" pos="288" userDrawn="1">
          <p15:clr>
            <a:srgbClr val="F26B43"/>
          </p15:clr>
        </p15:guide>
        <p15:guide id="20" pos="3425" userDrawn="1">
          <p15:clr>
            <a:srgbClr val="FDE53C"/>
          </p15:clr>
        </p15:guide>
        <p15:guide id="21" pos="3497" userDrawn="1">
          <p15:clr>
            <a:srgbClr val="FDE53C"/>
          </p15:clr>
        </p15:guide>
        <p15:guide id="22" pos="5066" userDrawn="1">
          <p15:clr>
            <a:srgbClr val="FDE53C"/>
          </p15:clr>
        </p15:guide>
        <p15:guide id="23" pos="5138" userDrawn="1">
          <p15:clr>
            <a:srgbClr val="FDE53C"/>
          </p15:clr>
        </p15:guide>
        <p15:guide id="24" pos="1800" userDrawn="1">
          <p15:clr>
            <a:srgbClr val="FDE53C"/>
          </p15:clr>
        </p15:guide>
        <p15:guide id="25" pos="1244" userDrawn="1">
          <p15:clr>
            <a:srgbClr val="FDE53C"/>
          </p15:clr>
        </p15:guide>
        <p15:guide id="26" pos="1316" userDrawn="1">
          <p15:clr>
            <a:srgbClr val="FDE53C"/>
          </p15:clr>
        </p15:guide>
        <p15:guide id="27" pos="2333" userDrawn="1">
          <p15:clr>
            <a:srgbClr val="FDE53C"/>
          </p15:clr>
        </p15:guide>
        <p15:guide id="28" pos="2404" userDrawn="1">
          <p15:clr>
            <a:srgbClr val="FDE53C"/>
          </p15:clr>
        </p15:guide>
        <p15:guide id="29" pos="4512" userDrawn="1">
          <p15:clr>
            <a:srgbClr val="FDE53C"/>
          </p15:clr>
        </p15:guide>
        <p15:guide id="30" pos="4577" userDrawn="1">
          <p15:clr>
            <a:srgbClr val="FDE53C"/>
          </p15:clr>
        </p15:guide>
        <p15:guide id="31" pos="5597" userDrawn="1">
          <p15:clr>
            <a:srgbClr val="FDE53C"/>
          </p15:clr>
        </p15:guide>
        <p15:guide id="32" pos="5668" userDrawn="1">
          <p15:clr>
            <a:srgbClr val="FDE53C"/>
          </p15:clr>
        </p15:guide>
        <p15:guide id="33" pos="5433" userDrawn="1">
          <p15:clr>
            <a:srgbClr val="FDE53C"/>
          </p15:clr>
        </p15:guide>
        <p15:guide id="34" orient="horz" pos="2692" userDrawn="1">
          <p15:clr>
            <a:srgbClr val="F26B43"/>
          </p15:clr>
        </p15:guide>
        <p15:guide id="35" pos="3456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83D0782-540D-4152-88A3-F3D8BB559C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22" imgW="216" imgH="216" progId="TCLayout.ActiveDocument.1">
                  <p:embed/>
                </p:oleObj>
              </mc:Choice>
              <mc:Fallback>
                <p:oleObj name="think-cell Slide" r:id="rId22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83D0782-540D-4152-88A3-F3D8BB559C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A790616-0AA7-B34E-99E2-D3D3C3AAC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ECEC9741-1493-EA47-837F-1F3A050755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411697F0-2D01-D44C-A95C-3F0F28B1C729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4056615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  <p:sldLayoutId id="2147484101" r:id="rId15"/>
    <p:sldLayoutId id="2147484102" r:id="rId16"/>
    <p:sldLayoutId id="2147484103" r:id="rId17"/>
    <p:sldLayoutId id="2147484104" r:id="rId18"/>
  </p:sldLayoutIdLst>
  <p:hf hdr="0" dt="0"/>
  <p:txStyles>
    <p:titleStyle>
      <a:lvl1pPr algn="l" defTabSz="82292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05730" indent="-205730" algn="l" defTabSz="82292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8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4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6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2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87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46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05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9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8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9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5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1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7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216" userDrawn="1">
          <p15:clr>
            <a:srgbClr val="FDE53C"/>
          </p15:clr>
        </p15:guide>
        <p15:guide id="4" pos="6696" userDrawn="1">
          <p15:clr>
            <a:srgbClr val="FDE53C"/>
          </p15:clr>
        </p15:guide>
        <p15:guide id="5" orient="horz" pos="288" userDrawn="1">
          <p15:clr>
            <a:srgbClr val="F26B43"/>
          </p15:clr>
        </p15:guide>
        <p15:guide id="6" orient="horz" pos="4896" userDrawn="1">
          <p15:clr>
            <a:srgbClr val="F26B43"/>
          </p15:clr>
        </p15:guide>
        <p15:guide id="7" orient="horz" pos="2592" userDrawn="1">
          <p15:clr>
            <a:srgbClr val="F26B43"/>
          </p15:clr>
        </p15:guide>
        <p15:guide id="8" pos="1242" userDrawn="1">
          <p15:clr>
            <a:srgbClr val="FDE53C"/>
          </p15:clr>
        </p15:guide>
        <p15:guide id="9" pos="1314" userDrawn="1">
          <p15:clr>
            <a:srgbClr val="FDE53C"/>
          </p15:clr>
        </p15:guide>
        <p15:guide id="10" pos="1791" userDrawn="1">
          <p15:clr>
            <a:srgbClr val="FDE53C"/>
          </p15:clr>
        </p15:guide>
        <p15:guide id="11" pos="1861" userDrawn="1">
          <p15:clr>
            <a:srgbClr val="FDE53C"/>
          </p15:clr>
        </p15:guide>
        <p15:guide id="12" pos="2327" userDrawn="1">
          <p15:clr>
            <a:srgbClr val="FDE53C"/>
          </p15:clr>
        </p15:guide>
        <p15:guide id="13" pos="2402" userDrawn="1">
          <p15:clr>
            <a:srgbClr val="FDE53C"/>
          </p15:clr>
        </p15:guide>
        <p15:guide id="14" pos="3422" userDrawn="1">
          <p15:clr>
            <a:srgbClr val="FDE53C"/>
          </p15:clr>
        </p15:guide>
        <p15:guide id="15" pos="3492" userDrawn="1">
          <p15:clr>
            <a:srgbClr val="FDE53C"/>
          </p15:clr>
        </p15:guide>
        <p15:guide id="16" pos="4510" userDrawn="1">
          <p15:clr>
            <a:srgbClr val="FDE53C"/>
          </p15:clr>
        </p15:guide>
        <p15:guide id="17" pos="4580" userDrawn="1">
          <p15:clr>
            <a:srgbClr val="FDE53C"/>
          </p15:clr>
        </p15:guide>
        <p15:guide id="18" pos="5063" userDrawn="1">
          <p15:clr>
            <a:srgbClr val="FDE53C"/>
          </p15:clr>
        </p15:guide>
        <p15:guide id="19" pos="5138" userDrawn="1">
          <p15:clr>
            <a:srgbClr val="FDE53C"/>
          </p15:clr>
        </p15:guide>
        <p15:guide id="20" pos="5599" userDrawn="1">
          <p15:clr>
            <a:srgbClr val="FDE53C"/>
          </p15:clr>
        </p15:guide>
        <p15:guide id="21" pos="5668" userDrawn="1">
          <p15:clr>
            <a:srgbClr val="FDE53C"/>
          </p15:clr>
        </p15:guide>
        <p15:guide id="22" pos="3456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F54FBD2-022A-46D6-95B8-302D7E82D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F54FBD2-022A-46D6-95B8-302D7E82D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B320BE-912E-6B4E-AF2C-58871F0345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3">
            <a:extLst>
              <a:ext uri="{FF2B5EF4-FFF2-40B4-BE49-F238E27FC236}">
                <a16:creationId xmlns:a16="http://schemas.microsoft.com/office/drawing/2014/main" id="{55098969-EFD1-3A44-9E2B-FCEE134427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FFFFFF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52152FE4-9E13-4042-9AA8-F6CFA664296B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solidFill>
                  <a:srgbClr val="FFFFFF"/>
                </a:solidFill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4028261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</p:sldLayoutIdLst>
  <p:hf hdr="0" dt="0"/>
  <p:txStyles>
    <p:titleStyle>
      <a:lvl1pPr algn="l" defTabSz="822920" rtl="0" eaLnBrk="1" latinLnBrk="0" hangingPunct="1">
        <a:lnSpc>
          <a:spcPct val="90000"/>
        </a:lnSpc>
        <a:spcBef>
          <a:spcPct val="0"/>
        </a:spcBef>
        <a:buNone/>
        <a:defRPr sz="3960" b="0" i="0" kern="1200">
          <a:solidFill>
            <a:schemeClr val="tx1"/>
          </a:solidFill>
          <a:latin typeface="Segoe UI" panose="020B0502040204020203" pitchFamily="34" charset="0"/>
          <a:ea typeface="+mj-ea"/>
          <a:cs typeface="+mj-cs"/>
        </a:defRPr>
      </a:lvl1pPr>
    </p:titleStyle>
    <p:bodyStyle>
      <a:lvl1pPr marL="205730" indent="-205730" algn="l" defTabSz="82292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8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4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6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2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87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46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05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9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8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9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5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1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7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56" userDrawn="1">
          <p15:clr>
            <a:srgbClr val="FDE53C"/>
          </p15:clr>
        </p15:guide>
        <p15:guide id="2" orient="horz" pos="2592" userDrawn="1">
          <p15:clr>
            <a:srgbClr val="FDE53C"/>
          </p15:clr>
        </p15:guide>
        <p15:guide id="3" pos="6696" userDrawn="1">
          <p15:clr>
            <a:srgbClr val="FDE53C"/>
          </p15:clr>
        </p15:guide>
        <p15:guide id="4" pos="216" userDrawn="1">
          <p15:clr>
            <a:srgbClr val="FDE53C"/>
          </p15:clr>
        </p15:guide>
        <p15:guide id="5" orient="horz" pos="4896" userDrawn="1">
          <p15:clr>
            <a:srgbClr val="F26B43"/>
          </p15:clr>
        </p15:guide>
        <p15:guide id="6" orient="horz" pos="288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06364E7-F026-4824-8F40-6AC78B9932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06364E7-F026-4824-8F40-6AC78B9932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1B5C7D9-1BA1-9F45-94FC-489A805C9B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9491" y="7612690"/>
            <a:ext cx="277554" cy="174679"/>
          </a:xfrm>
          <a:prstGeom prst="rect">
            <a:avLst/>
          </a:prstGeom>
          <a:noFill/>
        </p:spPr>
        <p:txBody>
          <a:bodyPr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fld id="{2C7AFF3D-0B71-614B-ACB6-7F45BDA6A8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6AFD8706-659A-B94F-B962-651685FF32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709879" y="7615599"/>
            <a:ext cx="3703320" cy="21891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20" b="1" i="0">
                <a:solidFill>
                  <a:srgbClr val="002677"/>
                </a:solidFill>
                <a:latin typeface="IBM Eliot Sans Medium" panose="020B0703050000000000" pitchFamily="34" charset="0"/>
              </a:defRPr>
            </a:lvl1pPr>
          </a:lstStyle>
          <a:p>
            <a:r>
              <a:rPr lang="en-US" dirty="0"/>
              <a:t>Presentation Title Here – Month 00, 000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27599D5F-A1E6-2147-9C2C-31AF1F05525B}"/>
              </a:ext>
            </a:extLst>
          </p:cNvPr>
          <p:cNvSpPr txBox="1">
            <a:spLocks/>
          </p:cNvSpPr>
          <p:nvPr userDrawn="1"/>
        </p:nvSpPr>
        <p:spPr>
          <a:xfrm>
            <a:off x="275756" y="7615599"/>
            <a:ext cx="1699493" cy="218918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457200" rtl="0" eaLnBrk="1" latinLnBrk="0" hangingPunct="1">
              <a:defRPr sz="960" b="1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720" dirty="0">
                <a:latin typeface="IBM Eliot Sans Medium" panose="020B0703050000000000" pitchFamily="34" charset="0"/>
              </a:rPr>
              <a:t>Equitable</a:t>
            </a:r>
          </a:p>
        </p:txBody>
      </p:sp>
    </p:spTree>
    <p:extLst>
      <p:ext uri="{BB962C8B-B14F-4D97-AF65-F5344CB8AC3E}">
        <p14:creationId xmlns:p14="http://schemas.microsoft.com/office/powerpoint/2010/main" val="233735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</p:sldLayoutIdLst>
  <p:hf hdr="0" dt="0"/>
  <p:txStyles>
    <p:titleStyle>
      <a:lvl1pPr algn="l" defTabSz="822920" rtl="0" eaLnBrk="1" latinLnBrk="0" hangingPunct="1">
        <a:lnSpc>
          <a:spcPct val="90000"/>
        </a:lnSpc>
        <a:spcBef>
          <a:spcPct val="0"/>
        </a:spcBef>
        <a:buNone/>
        <a:defRPr sz="39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730" indent="-205730" algn="l" defTabSz="822920" rtl="0" eaLnBrk="1" latinLnBrk="0" hangingPunct="1">
        <a:lnSpc>
          <a:spcPct val="90000"/>
        </a:lnSpc>
        <a:spcBef>
          <a:spcPts val="90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1pPr>
      <a:lvl2pPr marL="61718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2160" kern="1200">
          <a:solidFill>
            <a:schemeClr val="tx1"/>
          </a:solidFill>
          <a:latin typeface="+mn-lt"/>
          <a:ea typeface="+mn-ea"/>
          <a:cs typeface="+mn-cs"/>
        </a:defRPr>
      </a:lvl2pPr>
      <a:lvl3pPr marL="1028649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0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85156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263028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674487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3085946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497405" indent="-205730" algn="l" defTabSz="822920" rtl="0" eaLnBrk="1" latinLnBrk="0" hangingPunct="1">
        <a:lnSpc>
          <a:spcPct val="90000"/>
        </a:lnSpc>
        <a:spcBef>
          <a:spcPts val="450"/>
        </a:spcBef>
        <a:buFont typeface="Arial" panose="020B0604020202020204" pitchFamily="34" charset="0"/>
        <a:buChar char="•"/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1pPr>
      <a:lvl2pPr marL="41146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2pPr>
      <a:lvl3pPr marL="822920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3pPr>
      <a:lvl4pPr marL="1234379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4pPr>
      <a:lvl5pPr marL="1645838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5pPr>
      <a:lvl6pPr marL="205729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6pPr>
      <a:lvl7pPr marL="2468757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7pPr>
      <a:lvl8pPr marL="288021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8pPr>
      <a:lvl9pPr marL="3291676" algn="l" defTabSz="822920" rtl="0" eaLnBrk="1" latinLnBrk="0" hangingPunct="1">
        <a:defRPr sz="162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56" userDrawn="1">
          <p15:clr>
            <a:srgbClr val="FDE53C"/>
          </p15:clr>
        </p15:guide>
        <p15:guide id="2" pos="6696" userDrawn="1">
          <p15:clr>
            <a:srgbClr val="FDE53C"/>
          </p15:clr>
        </p15:guide>
        <p15:guide id="3" pos="216" userDrawn="1">
          <p15:clr>
            <a:srgbClr val="FDE53C"/>
          </p15:clr>
        </p15:guide>
        <p15:guide id="4" orient="horz" pos="2592" userDrawn="1">
          <p15:clr>
            <a:srgbClr val="FDE53C"/>
          </p15:clr>
        </p15:guide>
        <p15:guide id="5" orient="horz" pos="288" userDrawn="1">
          <p15:clr>
            <a:srgbClr val="F26B43"/>
          </p15:clr>
        </p15:guide>
        <p15:guide id="6" orient="horz" pos="4896" userDrawn="1">
          <p15:clr>
            <a:srgbClr val="F26B43"/>
          </p15:clr>
        </p15:guide>
        <p15:guide id="7" pos="31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2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2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2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8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2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11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211.xml"/><Relationship Id="rId4" Type="http://schemas.openxmlformats.org/officeDocument/2006/relationships/image" Target="../media/image10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8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7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80.emf"/><Relationship Id="rId5" Type="http://schemas.openxmlformats.org/officeDocument/2006/relationships/oleObject" Target="../embeddings/oleObject7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8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11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10" Type="http://schemas.openxmlformats.org/officeDocument/2006/relationships/image" Target="../media/image90.svg"/><Relationship Id="rId4" Type="http://schemas.openxmlformats.org/officeDocument/2006/relationships/image" Target="../media/image84.svg"/><Relationship Id="rId9" Type="http://schemas.openxmlformats.org/officeDocument/2006/relationships/image" Target="../media/image8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211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9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81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21DF2764-0550-4BC5-BF7F-BC459EBE7A96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0"/>
            <a:ext cx="10972800" cy="8229600"/>
            <a:chOff x="0" y="0"/>
            <a:chExt cx="10972800" cy="82296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4DDAFFB-0EAD-4E07-A894-FB7EFFC4E5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278"/>
            <a:stretch/>
          </p:blipFill>
          <p:spPr>
            <a:xfrm>
              <a:off x="0" y="1028200"/>
              <a:ext cx="10972800" cy="7201400"/>
            </a:xfrm>
            <a:prstGeom prst="rect">
              <a:avLst/>
            </a:prstGeom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80DF71BF-BECF-491B-AE96-B2A6EB99FE3B}"/>
                </a:ext>
              </a:extLst>
            </p:cNvPr>
            <p:cNvSpPr/>
            <p:nvPr/>
          </p:nvSpPr>
          <p:spPr>
            <a:xfrm>
              <a:off x="0" y="0"/>
              <a:ext cx="10972800" cy="1417320"/>
            </a:xfrm>
            <a:prstGeom prst="rect">
              <a:avLst/>
            </a:prstGeom>
            <a:solidFill>
              <a:srgbClr val="002677"/>
            </a:solidFill>
            <a:ln>
              <a:solidFill>
                <a:srgbClr val="0026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E4966AA1-075E-45BF-91EB-536F2DCE95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9996" y="481020"/>
            <a:ext cx="1892808" cy="1098880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35EB17E-B2F9-4190-B7A1-9BE8541FE592}"/>
              </a:ext>
            </a:extLst>
          </p:cNvPr>
          <p:cNvSpPr txBox="1">
            <a:spLocks/>
          </p:cNvSpPr>
          <p:nvPr/>
        </p:nvSpPr>
        <p:spPr>
          <a:xfrm>
            <a:off x="457198" y="2633239"/>
            <a:ext cx="6156961" cy="234252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400" b="1" kern="1200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tudent Loan Forgivenes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Program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DFDE6D-4324-4F9C-B0E4-1E0153D7DD17}"/>
              </a:ext>
            </a:extLst>
          </p:cNvPr>
          <p:cNvSpPr txBox="1"/>
          <p:nvPr/>
        </p:nvSpPr>
        <p:spPr>
          <a:xfrm>
            <a:off x="457198" y="7585928"/>
            <a:ext cx="74432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chemeClr val="bg1"/>
                </a:solidFill>
              </a:rPr>
              <a:t>GE-139182 (1/19)(1/21) </a:t>
            </a:r>
          </a:p>
          <a:p>
            <a:endParaRPr lang="en-US" sz="1000" dirty="0">
              <a:solidFill>
                <a:schemeClr val="bg1"/>
              </a:solidFill>
            </a:endParaRPr>
          </a:p>
          <a:p>
            <a:r>
              <a:rPr lang="en-US" sz="1000" dirty="0">
                <a:solidFill>
                  <a:schemeClr val="bg1"/>
                </a:solidFill>
              </a:rPr>
              <a:t>G549569			</a:t>
            </a:r>
          </a:p>
        </p:txBody>
      </p:sp>
    </p:spTree>
    <p:extLst>
      <p:ext uri="{BB962C8B-B14F-4D97-AF65-F5344CB8AC3E}">
        <p14:creationId xmlns:p14="http://schemas.microsoft.com/office/powerpoint/2010/main" val="11888285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3611EE-61D3-A442-A2DC-D8B586EC03A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4322" y="1450244"/>
            <a:ext cx="10314656" cy="5864956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/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721D4-650F-B94C-AFAA-D41D54C4E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>
                <a:latin typeface="Segoe UI" panose="020B0502040204020203" pitchFamily="34" charset="0"/>
              </a:rPr>
              <a:pPr/>
              <a:t>10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2208C82-760A-4C23-8CF0-5A21C93E58FC}"/>
              </a:ext>
            </a:extLst>
          </p:cNvPr>
          <p:cNvSpPr txBox="1">
            <a:spLocks/>
          </p:cNvSpPr>
          <p:nvPr/>
        </p:nvSpPr>
        <p:spPr>
          <a:xfrm>
            <a:off x="185281" y="160125"/>
            <a:ext cx="5246369" cy="1704301"/>
          </a:xfrm>
          <a:prstGeom prst="rect">
            <a:avLst/>
          </a:prstGeom>
        </p:spPr>
        <p:txBody>
          <a:bodyPr/>
          <a:lstStyle>
            <a:lvl1pPr marL="0" indent="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500" b="1" i="0" kern="1200">
                <a:solidFill>
                  <a:srgbClr val="3369FF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69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Teacher Loan Forgivenes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6C02BFD-97B1-46CC-BD4A-86766E0D3CCB}"/>
              </a:ext>
            </a:extLst>
          </p:cNvPr>
          <p:cNvSpPr txBox="1">
            <a:spLocks/>
          </p:cNvSpPr>
          <p:nvPr/>
        </p:nvSpPr>
        <p:spPr>
          <a:xfrm>
            <a:off x="274322" y="914400"/>
            <a:ext cx="4906535" cy="7155075"/>
          </a:xfrm>
          <a:prstGeom prst="rect">
            <a:avLst/>
          </a:prstGeom>
        </p:spPr>
        <p:txBody>
          <a:bodyPr/>
          <a:lstStyle>
            <a:lvl1pPr marL="285744" marR="0" indent="-285744" algn="l" defTabSz="109719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600" b="0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415260" indent="-201915" algn="l" defTabSz="109719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1200" b="0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2pPr>
            <a:lvl3pPr marL="1097198" indent="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None/>
              <a:defRPr sz="1680" kern="1200">
                <a:solidFill>
                  <a:schemeClr val="tx1"/>
                </a:solidFill>
                <a:latin typeface="GT America" pitchFamily="2" charset="77"/>
                <a:ea typeface="+mn-ea"/>
                <a:cs typeface="+mn-cs"/>
              </a:defRPr>
            </a:lvl3pPr>
            <a:lvl4pPr marL="1645798" indent="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None/>
              <a:defRPr sz="1680" kern="1200">
                <a:solidFill>
                  <a:schemeClr val="tx1"/>
                </a:solidFill>
                <a:latin typeface="GT America" pitchFamily="2" charset="77"/>
                <a:ea typeface="+mn-ea"/>
                <a:cs typeface="+mn-cs"/>
              </a:defRPr>
            </a:lvl4pPr>
            <a:lvl5pPr marL="2194396" indent="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None/>
              <a:defRPr sz="1680" kern="1200">
                <a:solidFill>
                  <a:schemeClr val="tx1"/>
                </a:solidFill>
                <a:latin typeface="GT America" pitchFamily="2" charset="77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2200" b="1" dirty="0"/>
              <a:t>Plan Requirements:</a:t>
            </a:r>
          </a:p>
          <a:p>
            <a:pPr lvl="0"/>
            <a:r>
              <a:rPr lang="en-US" sz="2200" dirty="0"/>
              <a:t>5 consecutive years of teaching in a Title 1 school</a:t>
            </a:r>
          </a:p>
          <a:p>
            <a:pPr lvl="0"/>
            <a:r>
              <a:rPr lang="en-US" sz="2200" dirty="0"/>
              <a:t>No loans prior to 10/1/1998</a:t>
            </a:r>
          </a:p>
          <a:p>
            <a:pPr marL="0" lvl="0" indent="0">
              <a:spcBef>
                <a:spcPts val="1600"/>
              </a:spcBef>
              <a:buNone/>
            </a:pPr>
            <a:r>
              <a:rPr lang="en-US" sz="2200" b="1" dirty="0"/>
              <a:t>Forgiveness Amounts:</a:t>
            </a:r>
          </a:p>
          <a:p>
            <a:pPr lvl="0"/>
            <a:r>
              <a:rPr lang="en-US" sz="2200" dirty="0"/>
              <a:t>Math or science teacher at the secondary education level or Special Education at any level receive $17,500 in forgiveness</a:t>
            </a:r>
          </a:p>
          <a:p>
            <a:pPr lvl="0"/>
            <a:r>
              <a:rPr lang="en-US" sz="2200" dirty="0"/>
              <a:t>Any other subject receives $5,000</a:t>
            </a:r>
          </a:p>
          <a:p>
            <a:pPr marL="0" lvl="0" indent="0">
              <a:spcBef>
                <a:spcPts val="1600"/>
              </a:spcBef>
              <a:buNone/>
            </a:pPr>
            <a:r>
              <a:rPr lang="en-US" sz="2200" b="1" dirty="0"/>
              <a:t>Common Issues</a:t>
            </a:r>
          </a:p>
          <a:p>
            <a:r>
              <a:rPr lang="en-US" sz="2200" dirty="0"/>
              <a:t>Complexity. Many borrowers don’t know this plan exists or enroll incorrectly</a:t>
            </a:r>
          </a:p>
          <a:p>
            <a:r>
              <a:rPr lang="en-US" sz="2200" dirty="0"/>
              <a:t>Tax filing and increasing income</a:t>
            </a:r>
          </a:p>
          <a:p>
            <a:r>
              <a:rPr lang="en-US" sz="2200" dirty="0"/>
              <a:t>Parent Plus Loans</a:t>
            </a:r>
          </a:p>
          <a:p>
            <a:pPr marL="205725" lvl="1" indent="0">
              <a:buNone/>
            </a:pPr>
            <a:endParaRPr lang="en-US" sz="2200" dirty="0"/>
          </a:p>
        </p:txBody>
      </p:sp>
      <p:pic>
        <p:nvPicPr>
          <p:cNvPr id="9" name="Picture 2" descr="175138394">
            <a:extLst>
              <a:ext uri="{FF2B5EF4-FFF2-40B4-BE49-F238E27FC236}">
                <a16:creationId xmlns:a16="http://schemas.microsoft.com/office/drawing/2014/main" id="{E80EFC47-59B8-42DD-8EBB-ADA059BDD2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42"/>
          <a:stretch/>
        </p:blipFill>
        <p:spPr bwMode="auto">
          <a:xfrm>
            <a:off x="5541152" y="0"/>
            <a:ext cx="5431648" cy="82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53003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3611EE-61D3-A442-A2DC-D8B586EC03A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74322" y="1450244"/>
            <a:ext cx="10314656" cy="5864956"/>
          </a:xfrm>
        </p:spPr>
        <p:txBody>
          <a:bodyPr/>
          <a:lstStyle/>
          <a:p>
            <a:pPr marL="0" indent="0">
              <a:buNone/>
            </a:pPr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lvl="1"/>
            <a:endParaRPr lang="en-US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721D4-650F-B94C-AFAA-D41D54C4E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>
                <a:latin typeface="Segoe UI" panose="020B0502040204020203" pitchFamily="34" charset="0"/>
              </a:rPr>
              <a:pPr/>
              <a:t>11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2208C82-760A-4C23-8CF0-5A21C93E58FC}"/>
              </a:ext>
            </a:extLst>
          </p:cNvPr>
          <p:cNvSpPr txBox="1">
            <a:spLocks/>
          </p:cNvSpPr>
          <p:nvPr/>
        </p:nvSpPr>
        <p:spPr>
          <a:xfrm>
            <a:off x="185281" y="160125"/>
            <a:ext cx="5246369" cy="1704301"/>
          </a:xfrm>
          <a:prstGeom prst="rect">
            <a:avLst/>
          </a:prstGeom>
        </p:spPr>
        <p:txBody>
          <a:bodyPr/>
          <a:lstStyle>
            <a:lvl1pPr marL="0" indent="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500" b="1" i="0" kern="1200">
                <a:solidFill>
                  <a:srgbClr val="3369FF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3369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Teacher Loan Forgivenes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6C02BFD-97B1-46CC-BD4A-86766E0D3CCB}"/>
              </a:ext>
            </a:extLst>
          </p:cNvPr>
          <p:cNvSpPr txBox="1">
            <a:spLocks/>
          </p:cNvSpPr>
          <p:nvPr/>
        </p:nvSpPr>
        <p:spPr>
          <a:xfrm>
            <a:off x="274322" y="914400"/>
            <a:ext cx="4906535" cy="7155075"/>
          </a:xfrm>
          <a:prstGeom prst="rect">
            <a:avLst/>
          </a:prstGeom>
        </p:spPr>
        <p:txBody>
          <a:bodyPr/>
          <a:lstStyle>
            <a:lvl1pPr marL="285744" marR="0" indent="-285744" algn="l" defTabSz="109719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 sz="1600" b="0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415260" indent="-201915" algn="l" defTabSz="1097198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 typeface="Courier New" panose="02070309020205020404" pitchFamily="49" charset="0"/>
              <a:buChar char="o"/>
              <a:tabLst/>
              <a:defRPr sz="1200" b="0" i="0" kern="1200">
                <a:solidFill>
                  <a:srgbClr val="002677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2pPr>
            <a:lvl3pPr marL="1097198" indent="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None/>
              <a:defRPr sz="1680" kern="1200">
                <a:solidFill>
                  <a:schemeClr val="tx1"/>
                </a:solidFill>
                <a:latin typeface="GT America" pitchFamily="2" charset="77"/>
                <a:ea typeface="+mn-ea"/>
                <a:cs typeface="+mn-cs"/>
              </a:defRPr>
            </a:lvl3pPr>
            <a:lvl4pPr marL="1645798" indent="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None/>
              <a:defRPr sz="1680" kern="1200">
                <a:solidFill>
                  <a:schemeClr val="tx1"/>
                </a:solidFill>
                <a:latin typeface="GT America" pitchFamily="2" charset="77"/>
                <a:ea typeface="+mn-ea"/>
                <a:cs typeface="+mn-cs"/>
              </a:defRPr>
            </a:lvl4pPr>
            <a:lvl5pPr marL="2194396" indent="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None/>
              <a:defRPr sz="1680" kern="1200">
                <a:solidFill>
                  <a:schemeClr val="tx1"/>
                </a:solidFill>
                <a:latin typeface="GT America" pitchFamily="2" charset="77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1800" b="1" dirty="0"/>
              <a:t>Plan Requirements:</a:t>
            </a:r>
          </a:p>
          <a:p>
            <a:pPr lvl="0"/>
            <a:r>
              <a:rPr lang="en-US" sz="1800" dirty="0"/>
              <a:t>Borrower must work full time in public service that is nonprofit 501(c)(3), military, public schools, nonprofit hospitals or government</a:t>
            </a:r>
          </a:p>
          <a:p>
            <a:pPr lvl="0"/>
            <a:r>
              <a:rPr lang="en-US" sz="1800" dirty="0"/>
              <a:t>Loan repayment plan type must be one of the four IDR plans or the 10-year standard repayment</a:t>
            </a:r>
          </a:p>
          <a:p>
            <a:pPr lvl="0"/>
            <a:r>
              <a:rPr lang="en-US" sz="1800" dirty="0"/>
              <a:t>120 on-time payments under qualifying payment plans (10-year standard or IDR plans)</a:t>
            </a:r>
          </a:p>
          <a:p>
            <a:pPr marL="0" lvl="0" indent="0">
              <a:spcBef>
                <a:spcPts val="1600"/>
              </a:spcBef>
              <a:buNone/>
            </a:pPr>
            <a:r>
              <a:rPr lang="en-US" sz="1800" b="1" dirty="0"/>
              <a:t>Forgiveness Amounts:</a:t>
            </a:r>
          </a:p>
          <a:p>
            <a:pPr lvl="0"/>
            <a:r>
              <a:rPr lang="en-US" sz="1800" dirty="0"/>
              <a:t>Varies from borrower to borrower</a:t>
            </a:r>
          </a:p>
          <a:p>
            <a:pPr lvl="0"/>
            <a:r>
              <a:rPr lang="en-US" sz="1800" dirty="0"/>
              <a:t>No limit on forgiveness and is forgiven tax-free!</a:t>
            </a:r>
          </a:p>
          <a:p>
            <a:pPr marL="0" lvl="0" indent="0">
              <a:spcBef>
                <a:spcPts val="1600"/>
              </a:spcBef>
              <a:buNone/>
            </a:pPr>
            <a:r>
              <a:rPr lang="en-US" sz="1800" b="1" dirty="0"/>
              <a:t>Common Issues</a:t>
            </a:r>
          </a:p>
          <a:p>
            <a:r>
              <a:rPr lang="en-US" sz="1800" dirty="0"/>
              <a:t>Complexity. Many borrowers don’t know this plan exists or enroll incorrectly</a:t>
            </a:r>
          </a:p>
          <a:p>
            <a:r>
              <a:rPr lang="en-US" sz="1800" dirty="0"/>
              <a:t>Tax filing and increasing income</a:t>
            </a:r>
          </a:p>
          <a:p>
            <a:r>
              <a:rPr lang="en-US" sz="1800" dirty="0"/>
              <a:t>Parent Plus Loans</a:t>
            </a:r>
          </a:p>
        </p:txBody>
      </p:sp>
      <p:pic>
        <p:nvPicPr>
          <p:cNvPr id="89090" name="Picture 2" descr="227956833">
            <a:extLst>
              <a:ext uri="{FF2B5EF4-FFF2-40B4-BE49-F238E27FC236}">
                <a16:creationId xmlns:a16="http://schemas.microsoft.com/office/drawing/2014/main" id="{642639A3-4404-4AC4-824B-AB95A1D9B24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39" r="17456"/>
          <a:stretch/>
        </p:blipFill>
        <p:spPr bwMode="auto">
          <a:xfrm>
            <a:off x="5520691" y="0"/>
            <a:ext cx="5452109" cy="82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01756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FB2B4C-C345-3B48-9DA4-A0F6BD0E80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0298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7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FB2B4C-C345-3B48-9DA4-A0F6BD0E8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0298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9F0E63-98F3-8A4B-9723-EA6055FACB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How to Take Action!</a:t>
            </a:r>
          </a:p>
        </p:txBody>
      </p:sp>
    </p:spTree>
    <p:extLst>
      <p:ext uri="{BB962C8B-B14F-4D97-AF65-F5344CB8AC3E}">
        <p14:creationId xmlns:p14="http://schemas.microsoft.com/office/powerpoint/2010/main" val="27281518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4" name="Picture 2" descr="563877117">
            <a:extLst>
              <a:ext uri="{FF2B5EF4-FFF2-40B4-BE49-F238E27FC236}">
                <a16:creationId xmlns:a16="http://schemas.microsoft.com/office/drawing/2014/main" id="{2F8AA161-9C6B-48FE-86D4-72522087E3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87" t="12576" r="51658"/>
          <a:stretch/>
        </p:blipFill>
        <p:spPr bwMode="auto">
          <a:xfrm>
            <a:off x="0" y="0"/>
            <a:ext cx="5298156" cy="82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6951CDF-07DE-43B2-9D02-38C837E5CA6A}"/>
              </a:ext>
            </a:extLst>
          </p:cNvPr>
          <p:cNvSpPr txBox="1">
            <a:spLocks/>
          </p:cNvSpPr>
          <p:nvPr/>
        </p:nvSpPr>
        <p:spPr>
          <a:xfrm>
            <a:off x="5379892" y="1656415"/>
            <a:ext cx="5473337" cy="2819400"/>
          </a:xfrm>
          <a:prstGeom prst="rect">
            <a:avLst/>
          </a:prstGeom>
        </p:spPr>
        <p:txBody>
          <a:bodyPr/>
          <a:lstStyle>
            <a:lvl1pPr marL="0" indent="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500" b="1" i="0" kern="1200">
                <a:solidFill>
                  <a:srgbClr val="3369FF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500" b="1" i="0" u="none" strike="noStrike" kern="1200" cap="none" spc="0" normalizeH="0" baseline="0" noProof="0" dirty="0">
                <a:ln>
                  <a:noFill/>
                </a:ln>
                <a:solidFill>
                  <a:srgbClr val="3369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After You Graduate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DD0DFB82-DB1E-45F9-9BDA-F6931112935F}"/>
              </a:ext>
            </a:extLst>
          </p:cNvPr>
          <p:cNvSpPr txBox="1">
            <a:spLocks/>
          </p:cNvSpPr>
          <p:nvPr/>
        </p:nvSpPr>
        <p:spPr>
          <a:xfrm>
            <a:off x="5674646" y="2545327"/>
            <a:ext cx="4855928" cy="2819400"/>
          </a:xfrm>
          <a:prstGeom prst="rect">
            <a:avLst/>
          </a:prstGeom>
        </p:spPr>
        <p:txBody>
          <a:bodyPr/>
          <a:lstStyle>
            <a:lvl1pPr marL="0" indent="0" algn="l" defTabSz="1097198" rtl="0" eaLnBrk="1" latinLnBrk="0" hangingPunct="1">
              <a:lnSpc>
                <a:spcPts val="2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kern="1200" spc="11" baseline="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44" indent="-285744">
              <a:lnSpc>
                <a:spcPct val="100000"/>
              </a:lnSpc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002677"/>
                </a:solidFill>
                <a:cs typeface="+mn-cs"/>
              </a:rPr>
              <a:t>Register for your online account with your servicer</a:t>
            </a:r>
          </a:p>
          <a:p>
            <a:pPr marL="285744" indent="-285744">
              <a:lnSpc>
                <a:spcPct val="100000"/>
              </a:lnSpc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002677"/>
                </a:solidFill>
                <a:cs typeface="+mn-cs"/>
              </a:rPr>
              <a:t>Create a budget</a:t>
            </a:r>
          </a:p>
          <a:p>
            <a:pPr marL="285744" indent="-285744">
              <a:lnSpc>
                <a:spcPct val="100000"/>
              </a:lnSpc>
              <a:spcBef>
                <a:spcPts val="1200"/>
              </a:spcBef>
              <a:buFont typeface="Courier New" panose="02070309020205020404" pitchFamily="49" charset="0"/>
              <a:buChar char="o"/>
            </a:pPr>
            <a:r>
              <a:rPr lang="en-US" sz="2400" dirty="0">
                <a:solidFill>
                  <a:srgbClr val="002677"/>
                </a:solidFill>
                <a:cs typeface="+mn-cs"/>
              </a:rPr>
              <a:t>Speak with an AXA Advisor Financial Professional to see if you’re eligible for student loan forgiveness</a:t>
            </a:r>
          </a:p>
        </p:txBody>
      </p:sp>
    </p:spTree>
    <p:extLst>
      <p:ext uri="{BB962C8B-B14F-4D97-AF65-F5344CB8AC3E}">
        <p14:creationId xmlns:p14="http://schemas.microsoft.com/office/powerpoint/2010/main" val="33790452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ABB2AE-DD36-4E86-BCC9-FF2F01D7A8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1256" y="413772"/>
            <a:ext cx="4370293" cy="5217578"/>
          </a:xfrm>
          <a:prstGeom prst="rect">
            <a:avLst/>
          </a:prstGeom>
        </p:spPr>
      </p:pic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302CBC1A-A436-4B8F-8D02-FAA2737DA823}"/>
              </a:ext>
            </a:extLst>
          </p:cNvPr>
          <p:cNvSpPr txBox="1">
            <a:spLocks/>
          </p:cNvSpPr>
          <p:nvPr/>
        </p:nvSpPr>
        <p:spPr>
          <a:xfrm>
            <a:off x="5632842" y="1430808"/>
            <a:ext cx="3724145" cy="35176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85744" indent="-285744" defTabSz="1097198">
              <a:lnSpc>
                <a:spcPct val="90000"/>
              </a:lnSpc>
              <a:spcBef>
                <a:spcPts val="1200"/>
              </a:spcBef>
              <a:buFont typeface="Courier New" panose="02070309020205020404" pitchFamily="49" charset="0"/>
              <a:buChar char="o"/>
              <a:defRPr/>
            </a:pPr>
            <a:r>
              <a:rPr lang="en-US" dirty="0" err="1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StudentLoanTech</a:t>
            </a: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 created an iPad app which generates an optimized financial plan incorporating the Public Student Loan Forgiveness Program (PSLF)</a:t>
            </a:r>
          </a:p>
          <a:p>
            <a:pPr marL="285744" indent="-285744" defTabSz="1097198">
              <a:lnSpc>
                <a:spcPct val="90000"/>
              </a:lnSpc>
              <a:spcBef>
                <a:spcPts val="1200"/>
              </a:spcBef>
              <a:buFont typeface="Courier New" panose="02070309020205020404" pitchFamily="49" charset="0"/>
              <a:buChar char="o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The app transforms PSLF into a easily understood program while making it easy to optimally enroll and ensure the borrower follows the correct process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20000"/>
              <a:buBlip>
                <a:blip r:embed="rId3"/>
              </a:buBlip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  <a:p>
            <a:pPr marR="0" lvl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20000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164E6-165B-4B31-9E35-036798EF76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err="1">
                <a:latin typeface="Segoe UI" panose="020B0502040204020203" pitchFamily="34" charset="0"/>
                <a:cs typeface="Segoe UI" panose="020B0502040204020203" pitchFamily="34" charset="0"/>
              </a:rPr>
              <a:t>StudentLoan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 Tech</a:t>
            </a:r>
          </a:p>
        </p:txBody>
      </p:sp>
      <p:sp>
        <p:nvSpPr>
          <p:cNvPr id="4" name="bk object 16">
            <a:extLst>
              <a:ext uri="{FF2B5EF4-FFF2-40B4-BE49-F238E27FC236}">
                <a16:creationId xmlns:a16="http://schemas.microsoft.com/office/drawing/2014/main" id="{781E79DE-D54A-439D-9231-2E63D0875690}"/>
              </a:ext>
            </a:extLst>
          </p:cNvPr>
          <p:cNvSpPr>
            <a:spLocks noChangeAspect="1"/>
          </p:cNvSpPr>
          <p:nvPr/>
        </p:nvSpPr>
        <p:spPr>
          <a:xfrm>
            <a:off x="-1" y="4269179"/>
            <a:ext cx="10980089" cy="3960421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Rectangle: Folded Corner 8">
            <a:extLst>
              <a:ext uri="{FF2B5EF4-FFF2-40B4-BE49-F238E27FC236}">
                <a16:creationId xmlns:a16="http://schemas.microsoft.com/office/drawing/2014/main" id="{9F8CDA4B-E441-4E93-825A-1741A17AB784}"/>
              </a:ext>
            </a:extLst>
          </p:cNvPr>
          <p:cNvSpPr/>
          <p:nvPr/>
        </p:nvSpPr>
        <p:spPr>
          <a:xfrm>
            <a:off x="6236232" y="5608544"/>
            <a:ext cx="3701379" cy="2475496"/>
          </a:xfrm>
          <a:prstGeom prst="foldedCorner">
            <a:avLst/>
          </a:prstGeom>
          <a:solidFill>
            <a:srgbClr val="3369FF"/>
          </a:solidFill>
          <a:ln w="9525" cap="flat" cmpd="sng" algn="ctr">
            <a:noFill/>
            <a:prstDash val="solid"/>
          </a:ln>
          <a:effectLst>
            <a:outerShdw blurRad="38100" dist="38100" dir="5400000" algn="t" rotWithShape="0">
              <a:sysClr val="window" lastClr="FFFFFF">
                <a:lumMod val="75000"/>
                <a:alpha val="50000"/>
              </a:sysClr>
            </a:outerShdw>
          </a:effectLst>
        </p:spPr>
        <p:txBody>
          <a:bodyPr rtlCol="0" anchor="ctr"/>
          <a:lstStyle/>
          <a:p>
            <a:pPr marL="6350" marR="0" lvl="0" indent="0" algn="ctr" defTabSz="913723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6350" marR="0" lvl="0" indent="0" algn="ctr" defTabSz="913723" eaLnBrk="0" fontAlgn="base" latinLnBrk="0" hangingPunct="0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Improving our clients’ lives </a:t>
            </a:r>
          </a:p>
          <a:p>
            <a:pPr marL="6350" marR="0" lvl="0" indent="0" algn="ctr" defTabSz="91372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with designed financial </a:t>
            </a:r>
          </a:p>
          <a:p>
            <a:pPr marL="6350" marR="0" lvl="0" indent="0" algn="ctr" defTabSz="91372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rategies that reduce the </a:t>
            </a:r>
          </a:p>
          <a:p>
            <a:pPr marL="6350" marR="0" lvl="0" indent="0" algn="ctr" defTabSz="913723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burden of student loans.</a:t>
            </a:r>
          </a:p>
          <a:p>
            <a:pPr marL="0" marR="0" lvl="0" indent="0" algn="ctr" defTabSz="913723" eaLnBrk="0" fontAlgn="base" latinLnBrk="0" hangingPunct="0">
              <a:lnSpc>
                <a:spcPct val="100000"/>
              </a:lnSpc>
              <a:spcBef>
                <a:spcPts val="2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StudentLoan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 Tech</a:t>
            </a:r>
          </a:p>
        </p:txBody>
      </p:sp>
      <p:pic>
        <p:nvPicPr>
          <p:cNvPr id="93186" name="Picture 2" descr="StudentLoan Tech, Inc | Better Business Bureau® Profile">
            <a:extLst>
              <a:ext uri="{FF2B5EF4-FFF2-40B4-BE49-F238E27FC236}">
                <a16:creationId xmlns:a16="http://schemas.microsoft.com/office/drawing/2014/main" id="{E58273E8-E750-4796-B661-7DADA81EEC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537" y="1533371"/>
            <a:ext cx="3365486" cy="1980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F1446B50-D641-4A2E-8D36-704603D84B21}"/>
              </a:ext>
            </a:extLst>
          </p:cNvPr>
          <p:cNvSpPr/>
          <p:nvPr/>
        </p:nvSpPr>
        <p:spPr>
          <a:xfrm>
            <a:off x="6176857" y="5707366"/>
            <a:ext cx="5880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72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000" dirty="0">
                <a:solidFill>
                  <a:prstClr val="white"/>
                </a:solidFill>
                <a:latin typeface="Source Sans Pro"/>
                <a:cs typeface="Arial" pitchFamily="34" charset="0"/>
              </a:rPr>
              <a:t>“</a:t>
            </a:r>
            <a:endParaRPr lang="en-US" sz="6000" dirty="0">
              <a:solidFill>
                <a:prstClr val="black"/>
              </a:solidFill>
              <a:latin typeface="Source Sans Pro"/>
              <a:cs typeface="Arial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6B6831-4774-4FEF-9539-C7863E63928D}"/>
              </a:ext>
            </a:extLst>
          </p:cNvPr>
          <p:cNvSpPr/>
          <p:nvPr/>
        </p:nvSpPr>
        <p:spPr>
          <a:xfrm rot="10800000">
            <a:off x="9349513" y="6391257"/>
            <a:ext cx="5880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72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000" dirty="0">
                <a:solidFill>
                  <a:prstClr val="white"/>
                </a:solidFill>
                <a:latin typeface="Source Sans Pro"/>
                <a:cs typeface="Arial" pitchFamily="34" charset="0"/>
              </a:rPr>
              <a:t>“</a:t>
            </a:r>
            <a:endParaRPr lang="en-US" sz="6000" dirty="0">
              <a:solidFill>
                <a:prstClr val="black"/>
              </a:solidFill>
              <a:latin typeface="Source Sans Pro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10265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7AFF3D-0B71-614B-ACB6-7F45BDA6A838}" type="slidenum">
              <a:rPr kumimoji="0" lang="en-US" sz="720" b="1" i="0" u="none" strike="noStrike" kern="1200" cap="none" spc="0" normalizeH="0" baseline="0" noProof="0" smtClean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IBM Eliot Sans Medium" panose="020B0703050000000000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20" b="1" i="0" u="none" strike="noStrike" kern="1200" cap="none" spc="0" normalizeH="0" baseline="0" noProof="0" dirty="0">
              <a:ln>
                <a:noFill/>
              </a:ln>
              <a:solidFill>
                <a:srgbClr val="002677"/>
              </a:solidFill>
              <a:effectLst/>
              <a:uLnTx/>
              <a:uFillTx/>
              <a:latin typeface="IBM Eliot Sans Medium" panose="020B0703050000000000" pitchFamily="34" charset="0"/>
              <a:ea typeface="+mn-ea"/>
              <a:cs typeface="+mn-cs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BAB01E4-8668-4872-A491-5E85E4E1FEFA}"/>
              </a:ext>
            </a:extLst>
          </p:cNvPr>
          <p:cNvSpPr txBox="1">
            <a:spLocks/>
          </p:cNvSpPr>
          <p:nvPr/>
        </p:nvSpPr>
        <p:spPr>
          <a:xfrm>
            <a:off x="256611" y="459462"/>
            <a:ext cx="6714205" cy="9907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097280" rtl="0" eaLnBrk="1" latinLnBrk="0" hangingPunct="1">
              <a:lnSpc>
                <a:spcPts val="2250"/>
              </a:lnSpc>
              <a:spcBef>
                <a:spcPts val="1200"/>
              </a:spcBef>
              <a:buFont typeface="Arial" panose="020B0604020202020204" pitchFamily="34" charset="0"/>
              <a:buNone/>
              <a:defRPr sz="2625" b="1" i="0" kern="1200">
                <a:solidFill>
                  <a:srgbClr val="002677"/>
                </a:solidFill>
                <a:latin typeface="IBM Eliot Sans Medium" panose="020B0703050000000000" pitchFamily="34" charset="0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52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Student Loan Forgiveness Case Studie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84FF6ED-90FC-40FE-9EB9-B7E14400535D}"/>
              </a:ext>
            </a:extLst>
          </p:cNvPr>
          <p:cNvSpPr txBox="1"/>
          <p:nvPr/>
        </p:nvSpPr>
        <p:spPr>
          <a:xfrm>
            <a:off x="3398788" y="7898672"/>
            <a:ext cx="4175225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372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800" dirty="0">
                <a:solidFill>
                  <a:srgbClr val="404040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 charset="0"/>
              </a:rPr>
              <a:t>These case studies  are for illustration purposes only. Each individual case will vary.</a:t>
            </a: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A938D738-8241-41A5-9C2F-2784B329EB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055" y="5211828"/>
            <a:ext cx="10393443" cy="2421565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9D86AB93-3C3A-4FBE-B762-C4898126BEB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82915" y="3089061"/>
            <a:ext cx="10307724" cy="2335846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36BCD052-F61F-4BF7-99B8-0AC866CCA949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776" y="954853"/>
            <a:ext cx="10522023" cy="2367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0688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FB2B4C-C345-3B48-9DA4-A0F6BD0E80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0298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3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FB2B4C-C345-3B48-9DA4-A0F6BD0E8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0298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9F0E63-98F3-8A4B-9723-EA6055FACB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31261180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697AFFB-07C0-4A61-B4BE-881A3C3BEC78}"/>
              </a:ext>
            </a:extLst>
          </p:cNvPr>
          <p:cNvSpPr/>
          <p:nvPr/>
        </p:nvSpPr>
        <p:spPr>
          <a:xfrm>
            <a:off x="0" y="-17584"/>
            <a:ext cx="10972800" cy="8229600"/>
          </a:xfrm>
          <a:prstGeom prst="rect">
            <a:avLst/>
          </a:prstGeom>
          <a:solidFill>
            <a:srgbClr val="002677"/>
          </a:solidFill>
          <a:ln>
            <a:solidFill>
              <a:srgbClr val="0026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2595173-CBA8-4238-B09E-4D0769E4B55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5616" y="3110403"/>
            <a:ext cx="3401568" cy="1974799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8054CF6-75E2-4DBE-95AC-7A9E3F5A5DEA}"/>
              </a:ext>
            </a:extLst>
          </p:cNvPr>
          <p:cNvSpPr txBox="1">
            <a:spLocks/>
          </p:cNvSpPr>
          <p:nvPr/>
        </p:nvSpPr>
        <p:spPr>
          <a:xfrm>
            <a:off x="-1381638" y="434880"/>
            <a:ext cx="13736077" cy="2277683"/>
          </a:xfrm>
          <a:prstGeom prst="rect">
            <a:avLst/>
          </a:prstGeom>
        </p:spPr>
        <p:txBody>
          <a:bodyPr anchor="ctr" anchorCtr="0"/>
          <a:lstStyle>
            <a:lvl1pPr marL="0" indent="0" algn="ctr" defTabSz="1097253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8000" b="1" i="0" kern="1200">
                <a:solidFill>
                  <a:srgbClr val="FFFFFF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822939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566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192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818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445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071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697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323" indent="-274313" algn="l" defTabSz="1097253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53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8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rPr>
              <a:t>Thank you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DD5978-33EC-46EE-817D-EB240BE49632}"/>
              </a:ext>
            </a:extLst>
          </p:cNvPr>
          <p:cNvSpPr txBox="1"/>
          <p:nvPr/>
        </p:nvSpPr>
        <p:spPr>
          <a:xfrm>
            <a:off x="1274886" y="7517423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“Equitable” is the brand name of Equitable Holdings, Inc. and its family of companies, including AXA Equitable Life Insurance Company (AXA Equitable) (NY, NY); AXA Advisors, LLC (member FINRA, SIPC); and AXA Distributors, LLC. The obligations of AXA Equitable are backed solely by its claims-paying ability.</a:t>
            </a:r>
          </a:p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0380324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78FB135-3F82-AB46-B1DC-54D7A75D03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0298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8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78FB135-3F82-AB46-B1DC-54D7A75D0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0298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917823-0BCC-4B4E-A2B0-AB81392218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342900">
              <a:defRPr/>
            </a:pPr>
            <a:fld id="{2C7AFF3D-0B71-614B-ACB6-7F45BDA6A838}" type="slidenum">
              <a:rPr lang="en-US"/>
              <a:pPr defTabSz="342900">
                <a:defRPr/>
              </a:pPr>
              <a:t>2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05C76B-9866-044C-BFFA-6CE314D880C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Segoe UI" panose="020B0502040204020203" pitchFamily="34" charset="0"/>
                <a:sym typeface="Segoe UI" panose="020B0502040204020203" pitchFamily="34" charset="0"/>
              </a:rPr>
              <a:t>Conten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B3D32FE-6B6C-914E-B681-985A5FB8585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71240" y="3657664"/>
            <a:ext cx="2330263" cy="872496"/>
          </a:xfrm>
        </p:spPr>
        <p:txBody>
          <a:bodyPr/>
          <a:lstStyle/>
          <a:p>
            <a:pPr lvl="0"/>
            <a:r>
              <a:rPr lang="en-US" dirty="0"/>
              <a:t>STUDENT LOAN BASICS</a:t>
            </a:r>
          </a:p>
          <a:p>
            <a:pPr lvl="0"/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F8687D-06E5-1F49-B94F-194DD311DFE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07769" y="2881997"/>
            <a:ext cx="990749" cy="742948"/>
          </a:xfrm>
        </p:spPr>
        <p:txBody>
          <a:bodyPr/>
          <a:lstStyle/>
          <a:p>
            <a:r>
              <a:rPr lang="en-US">
                <a:latin typeface="Segoe UI" panose="020B0502040204020203" pitchFamily="34" charset="0"/>
                <a:sym typeface="Segoe UI" panose="020B0502040204020203" pitchFamily="34" charset="0"/>
              </a:rPr>
              <a:t>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1667218-8BF3-A74B-B752-5ADE90CF0A1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93834" y="3657664"/>
            <a:ext cx="2454272" cy="654372"/>
          </a:xfrm>
        </p:spPr>
        <p:txBody>
          <a:bodyPr/>
          <a:lstStyle/>
          <a:p>
            <a:pPr lvl="0"/>
            <a:r>
              <a:rPr lang="en-US" dirty="0"/>
              <a:t>FORGIVENESS</a:t>
            </a:r>
          </a:p>
          <a:p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240EDFF-044E-1A44-9304-AAA2BD13933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731675" y="3657664"/>
            <a:ext cx="2217511" cy="872496"/>
          </a:xfrm>
        </p:spPr>
        <p:txBody>
          <a:bodyPr/>
          <a:lstStyle/>
          <a:p>
            <a:pPr lvl="0"/>
            <a:r>
              <a:rPr lang="en-US" dirty="0"/>
              <a:t>HOW TO TAKE ACTION!</a:t>
            </a:r>
            <a:endParaRPr lang="en-US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24FCA7B-1375-E34D-A07D-930676ABF90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507023" y="3657664"/>
            <a:ext cx="2217511" cy="872496"/>
          </a:xfrm>
        </p:spPr>
        <p:txBody>
          <a:bodyPr/>
          <a:lstStyle/>
          <a:p>
            <a:pPr lvl="0"/>
            <a:r>
              <a:rPr lang="en-US" dirty="0">
                <a:latin typeface="Segoe UI" panose="020B0502040204020203" pitchFamily="34" charset="0"/>
                <a:sym typeface="Segoe UI" panose="020B0502040204020203" pitchFamily="34" charset="0"/>
              </a:rPr>
              <a:t>Q&amp;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DC97D6E-CF04-B24F-9E59-F7447FE4962B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993833" y="2881997"/>
            <a:ext cx="990749" cy="742948"/>
          </a:xfrm>
        </p:spPr>
        <p:txBody>
          <a:bodyPr/>
          <a:lstStyle/>
          <a:p>
            <a:r>
              <a:rPr lang="en-US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7ED9422-D308-5740-B497-2271B3CC8F1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731675" y="2881997"/>
            <a:ext cx="990749" cy="742948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sym typeface="Segoe UI" panose="020B0502040204020203" pitchFamily="34" charset="0"/>
              </a:rPr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3F1E89A-0B48-5446-B475-8A8F59849B4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507023" y="2881997"/>
            <a:ext cx="990749" cy="742948"/>
          </a:xfrm>
        </p:spPr>
        <p:txBody>
          <a:bodyPr/>
          <a:lstStyle/>
          <a:p>
            <a:r>
              <a:rPr lang="en-US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86704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FB2B4C-C345-3B48-9DA4-A0F6BD0E80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0298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FB2B4C-C345-3B48-9DA4-A0F6BD0E8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0298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9F0E63-98F3-8A4B-9723-EA6055FACB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tudent Loan Basics:</a:t>
            </a:r>
          </a:p>
          <a:p>
            <a:r>
              <a:rPr lang="en-US" dirty="0"/>
              <a:t>Types of Loans &amp; Loan Servicers</a:t>
            </a:r>
          </a:p>
        </p:txBody>
      </p:sp>
    </p:spTree>
    <p:extLst>
      <p:ext uri="{BB962C8B-B14F-4D97-AF65-F5344CB8AC3E}">
        <p14:creationId xmlns:p14="http://schemas.microsoft.com/office/powerpoint/2010/main" val="2886622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0721D4-650F-B94C-AFAA-D41D54C4E5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>
                <a:latin typeface="Segoe UI" panose="020B0502040204020203" pitchFamily="34" charset="0"/>
              </a:rPr>
              <a:pPr/>
              <a:t>4</a:t>
            </a:fld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F10F54-6878-4EB0-B073-7CEAF7132143}"/>
              </a:ext>
            </a:extLst>
          </p:cNvPr>
          <p:cNvSpPr/>
          <p:nvPr/>
        </p:nvSpPr>
        <p:spPr>
          <a:xfrm>
            <a:off x="5486403" y="4114799"/>
            <a:ext cx="5486400" cy="4114800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60" b="0" i="0" dirty="0">
              <a:latin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6B83F29-9E92-4ABE-AA67-46137800897F}"/>
              </a:ext>
            </a:extLst>
          </p:cNvPr>
          <p:cNvSpPr txBox="1">
            <a:spLocks/>
          </p:cNvSpPr>
          <p:nvPr/>
        </p:nvSpPr>
        <p:spPr>
          <a:xfrm>
            <a:off x="5555853" y="5040907"/>
            <a:ext cx="5347501" cy="1898042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marR="0" indent="0" algn="l" defTabSz="109719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300" b="1" i="0" kern="1200">
                <a:solidFill>
                  <a:srgbClr val="FFFFFF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/>
            <a:r>
              <a:rPr lang="en-US" sz="4200" dirty="0"/>
              <a:t>Student Loan Basics: The Problem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EAFC475D-F001-4520-9F89-10407B412F86}"/>
              </a:ext>
            </a:extLst>
          </p:cNvPr>
          <p:cNvSpPr txBox="1">
            <a:spLocks/>
          </p:cNvSpPr>
          <p:nvPr/>
        </p:nvSpPr>
        <p:spPr>
          <a:xfrm>
            <a:off x="347467" y="489309"/>
            <a:ext cx="4750313" cy="67178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6960" b="1" i="0" kern="1200">
                <a:solidFill>
                  <a:srgbClr val="3369FF"/>
                </a:solidFill>
                <a:latin typeface="Segoe UI" panose="020B0502040204020203" pitchFamily="34" charset="0"/>
                <a:ea typeface="+mn-ea"/>
                <a:cs typeface="+mn-cs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 dirty="0"/>
              <a:t>$</a:t>
            </a:r>
            <a:r>
              <a:rPr lang="en-US" sz="4800" dirty="0"/>
              <a:t>1.6</a:t>
            </a:r>
            <a:r>
              <a:rPr lang="en-US" sz="2800" dirty="0"/>
              <a:t>t </a:t>
            </a:r>
            <a:r>
              <a:rPr lang="en-US" sz="2800" dirty="0">
                <a:solidFill>
                  <a:srgbClr val="002677"/>
                </a:solidFill>
              </a:rPr>
              <a:t>Student Loan Debt </a:t>
            </a:r>
          </a:p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 dirty="0"/>
              <a:t>$</a:t>
            </a:r>
            <a:r>
              <a:rPr lang="en-US" sz="4800" dirty="0"/>
              <a:t>1.2</a:t>
            </a:r>
            <a:r>
              <a:rPr lang="en-US" sz="2800" dirty="0"/>
              <a:t>t</a:t>
            </a:r>
            <a:r>
              <a:rPr lang="en-US" sz="2800" dirty="0">
                <a:solidFill>
                  <a:srgbClr val="002677"/>
                </a:solidFill>
              </a:rPr>
              <a:t> Auto Loan Debt</a:t>
            </a:r>
          </a:p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 dirty="0"/>
              <a:t>$</a:t>
            </a:r>
            <a:r>
              <a:rPr lang="en-US" sz="4800" dirty="0"/>
              <a:t>900</a:t>
            </a:r>
            <a:r>
              <a:rPr lang="en-US" sz="2800" dirty="0"/>
              <a:t>b</a:t>
            </a:r>
            <a:r>
              <a:rPr lang="en-US" sz="2800" dirty="0">
                <a:solidFill>
                  <a:srgbClr val="002677"/>
                </a:solidFill>
              </a:rPr>
              <a:t> Credit </a:t>
            </a:r>
            <a:r>
              <a:rPr lang="en-US" sz="2800">
                <a:solidFill>
                  <a:srgbClr val="002677"/>
                </a:solidFill>
              </a:rPr>
              <a:t>Card Debt</a:t>
            </a:r>
            <a:endParaRPr lang="en-US" sz="2800" dirty="0">
              <a:solidFill>
                <a:srgbClr val="002677"/>
              </a:solidFill>
            </a:endParaRPr>
          </a:p>
          <a:p>
            <a:pPr marL="0" marR="0" lvl="0" indent="0" algn="l" defTabSz="1097198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2800" dirty="0">
                <a:solidFill>
                  <a:srgbClr val="002677"/>
                </a:solidFill>
              </a:rPr>
              <a:t>Educators with a loan balance of </a:t>
            </a:r>
            <a:r>
              <a:rPr lang="en-US" sz="2800" dirty="0"/>
              <a:t>$</a:t>
            </a:r>
            <a:r>
              <a:rPr lang="en-US" sz="4800" dirty="0"/>
              <a:t>50</a:t>
            </a:r>
            <a:r>
              <a:rPr lang="en-US" sz="2800" dirty="0"/>
              <a:t>k </a:t>
            </a:r>
            <a:r>
              <a:rPr lang="en-US" sz="2800" dirty="0">
                <a:solidFill>
                  <a:srgbClr val="002677"/>
                </a:solidFill>
              </a:rPr>
              <a:t>expected to make payments as high as </a:t>
            </a:r>
            <a:r>
              <a:rPr lang="en-US" sz="2800" dirty="0"/>
              <a:t>$</a:t>
            </a:r>
            <a:r>
              <a:rPr lang="en-US" sz="4800" dirty="0"/>
              <a:t>600</a:t>
            </a:r>
            <a:r>
              <a:rPr lang="en-US" sz="2800" dirty="0"/>
              <a:t>/month </a:t>
            </a:r>
            <a:r>
              <a:rPr lang="en-US" sz="2800" dirty="0">
                <a:solidFill>
                  <a:srgbClr val="002677"/>
                </a:solidFill>
              </a:rPr>
              <a:t>under a standard repayment plan! </a:t>
            </a:r>
          </a:p>
        </p:txBody>
      </p:sp>
      <p:pic>
        <p:nvPicPr>
          <p:cNvPr id="77826" name="Picture 2" descr="1169029136">
            <a:extLst>
              <a:ext uri="{FF2B5EF4-FFF2-40B4-BE49-F238E27FC236}">
                <a16:creationId xmlns:a16="http://schemas.microsoft.com/office/drawing/2014/main" id="{F28F81F8-09CE-406A-8DCB-80085266CF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94"/>
          <a:stretch/>
        </p:blipFill>
        <p:spPr bwMode="auto">
          <a:xfrm>
            <a:off x="5486397" y="0"/>
            <a:ext cx="5486405" cy="413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DD1A6D59-E43F-484D-81A6-EE385F0B02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1984" y="6547437"/>
            <a:ext cx="816716" cy="88023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5316132E-DE63-41D1-9BD4-A0B6962C53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844361" y="6547437"/>
            <a:ext cx="805458" cy="86810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DA4C373-BFE0-4F7C-95DA-0BA8781980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75867" y="6547437"/>
            <a:ext cx="796330" cy="858267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BCFADAF8-E430-4D0B-AE46-5C58919BCD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3847" y="6547437"/>
            <a:ext cx="779856" cy="840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27312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645426793">
            <a:extLst>
              <a:ext uri="{FF2B5EF4-FFF2-40B4-BE49-F238E27FC236}">
                <a16:creationId xmlns:a16="http://schemas.microsoft.com/office/drawing/2014/main" id="{4054F2E0-E702-4D23-A33B-3326402A28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451" r="12422" b="24259"/>
          <a:stretch/>
        </p:blipFill>
        <p:spPr bwMode="auto">
          <a:xfrm>
            <a:off x="-8803" y="5229111"/>
            <a:ext cx="10981603" cy="3116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F48F3329-5A73-446B-870D-E91FB99CC8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18283" y="4199337"/>
            <a:ext cx="10991083" cy="1405406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164E6-165B-4B31-9E35-036798EF76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6611" y="459462"/>
            <a:ext cx="4992283" cy="990782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Identify Your Loan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4825B5-5E42-48E7-A2C2-55B04BAA706B}"/>
              </a:ext>
            </a:extLst>
          </p:cNvPr>
          <p:cNvSpPr/>
          <p:nvPr/>
        </p:nvSpPr>
        <p:spPr>
          <a:xfrm>
            <a:off x="621417" y="1520932"/>
            <a:ext cx="4622800" cy="2911368"/>
          </a:xfrm>
          <a:prstGeom prst="rect">
            <a:avLst/>
          </a:prstGeom>
          <a:solidFill>
            <a:srgbClr val="002677"/>
          </a:solidFill>
          <a:ln>
            <a:solidFill>
              <a:srgbClr val="E1E3E4">
                <a:lumMod val="50000"/>
              </a:srgbClr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986B6C2-EBD3-4E33-93CC-745F1BAAED51}"/>
              </a:ext>
            </a:extLst>
          </p:cNvPr>
          <p:cNvSpPr/>
          <p:nvPr/>
        </p:nvSpPr>
        <p:spPr>
          <a:xfrm>
            <a:off x="5727700" y="1520932"/>
            <a:ext cx="4622800" cy="2911368"/>
          </a:xfrm>
          <a:prstGeom prst="rect">
            <a:avLst/>
          </a:prstGeom>
          <a:solidFill>
            <a:srgbClr val="73BFFF"/>
          </a:solidFill>
          <a:ln>
            <a:solidFill>
              <a:srgbClr val="E1E3E4">
                <a:lumMod val="50000"/>
              </a:srgbClr>
            </a:solidFill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87C41E5-FF91-44E0-879B-15CB1C8E2084}"/>
              </a:ext>
            </a:extLst>
          </p:cNvPr>
          <p:cNvSpPr txBox="1"/>
          <p:nvPr/>
        </p:nvSpPr>
        <p:spPr>
          <a:xfrm>
            <a:off x="2330626" y="1669913"/>
            <a:ext cx="1600200" cy="624945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4400">
              <a:spcBef>
                <a:spcPts val="1200"/>
              </a:spcBef>
              <a:buSzPct val="100000"/>
            </a:pPr>
            <a:r>
              <a:rPr lang="en-US" sz="4000" b="1" dirty="0">
                <a:solidFill>
                  <a:srgbClr val="FFFF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edera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CEB9B84-EE06-48AF-8F66-7A0932FF9F91}"/>
              </a:ext>
            </a:extLst>
          </p:cNvPr>
          <p:cNvSpPr txBox="1"/>
          <p:nvPr/>
        </p:nvSpPr>
        <p:spPr>
          <a:xfrm>
            <a:off x="1231900" y="2317743"/>
            <a:ext cx="2286000" cy="164578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14400">
              <a:spcBef>
                <a:spcPts val="1200"/>
              </a:spcBef>
              <a:buSzPct val="100000"/>
            </a:pPr>
            <a:r>
              <a:rPr lang="en-US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National Student Loan Data System (NSLDS)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8F10BDF-2905-4F11-98A8-D94FC245B6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7175" y="2678087"/>
            <a:ext cx="1630891" cy="1630891"/>
          </a:xfrm>
          <a:prstGeom prst="rect">
            <a:avLst/>
          </a:prstGeom>
        </p:spPr>
      </p:pic>
      <p:grpSp>
        <p:nvGrpSpPr>
          <p:cNvPr id="27" name="Group 26">
            <a:extLst>
              <a:ext uri="{FF2B5EF4-FFF2-40B4-BE49-F238E27FC236}">
                <a16:creationId xmlns:a16="http://schemas.microsoft.com/office/drawing/2014/main" id="{6660362C-2928-4AA3-9C36-670CCD543F6C}"/>
              </a:ext>
            </a:extLst>
          </p:cNvPr>
          <p:cNvGrpSpPr>
            <a:grpSpLocks noChangeAspect="1"/>
          </p:cNvGrpSpPr>
          <p:nvPr/>
        </p:nvGrpSpPr>
        <p:grpSpPr>
          <a:xfrm>
            <a:off x="8628602" y="2661729"/>
            <a:ext cx="1672095" cy="1663606"/>
            <a:chOff x="-5059114" y="5207951"/>
            <a:chExt cx="1066800" cy="106138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C24DAB3D-DF42-46B8-94FF-CF4B0F764262}"/>
                </a:ext>
              </a:extLst>
            </p:cNvPr>
            <p:cNvSpPr/>
            <p:nvPr/>
          </p:nvSpPr>
          <p:spPr>
            <a:xfrm>
              <a:off x="-4782867" y="5881714"/>
              <a:ext cx="492102" cy="63904"/>
            </a:xfrm>
            <a:prstGeom prst="rect">
              <a:avLst/>
            </a:prstGeom>
            <a:solidFill>
              <a:srgbClr val="26347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ACDEBC95-9AB8-4B17-954C-34369CFFDD4D}"/>
                </a:ext>
              </a:extLst>
            </p:cNvPr>
            <p:cNvGrpSpPr/>
            <p:nvPr/>
          </p:nvGrpSpPr>
          <p:grpSpPr>
            <a:xfrm>
              <a:off x="-5059114" y="5207951"/>
              <a:ext cx="1066800" cy="1061384"/>
              <a:chOff x="-6401251" y="5122800"/>
              <a:chExt cx="1905000" cy="1905000"/>
            </a:xfrm>
          </p:grpSpPr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F0D5B27C-AE34-48BB-9A55-60EB286FAA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6401251" y="5122800"/>
                <a:ext cx="1905000" cy="1905000"/>
              </a:xfrm>
              <a:prstGeom prst="rect">
                <a:avLst/>
              </a:prstGeom>
            </p:spPr>
          </p:pic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AE8EE1AF-CEA3-4A8C-ADB9-95AC1B16343D}"/>
                  </a:ext>
                </a:extLst>
              </p:cNvPr>
              <p:cNvSpPr/>
              <p:nvPr/>
            </p:nvSpPr>
            <p:spPr>
              <a:xfrm>
                <a:off x="-5777361" y="6402128"/>
                <a:ext cx="169041" cy="324872"/>
              </a:xfrm>
              <a:prstGeom prst="rect">
                <a:avLst/>
              </a:prstGeom>
              <a:solidFill>
                <a:srgbClr val="26347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E0ACEC90-03F9-4564-B174-DF3680416CD6}"/>
                  </a:ext>
                </a:extLst>
              </p:cNvPr>
              <p:cNvSpPr/>
              <p:nvPr/>
            </p:nvSpPr>
            <p:spPr>
              <a:xfrm>
                <a:off x="-5262936" y="6392092"/>
                <a:ext cx="169041" cy="324872"/>
              </a:xfrm>
              <a:prstGeom prst="rect">
                <a:avLst/>
              </a:prstGeom>
              <a:solidFill>
                <a:srgbClr val="26347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63B850B-9058-425A-9847-08ED61CD0AC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5979583" y="6279499"/>
                <a:ext cx="1039282" cy="126255"/>
              </a:xfrm>
              <a:prstGeom prst="rect">
                <a:avLst/>
              </a:prstGeom>
              <a:solidFill>
                <a:srgbClr val="26347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AF9CB14F-33A8-485C-BA30-3A8FFB9725B4}"/>
                  </a:ext>
                </a:extLst>
              </p:cNvPr>
              <p:cNvSpPr/>
              <p:nvPr/>
            </p:nvSpPr>
            <p:spPr>
              <a:xfrm>
                <a:off x="-5854715" y="6405754"/>
                <a:ext cx="836854" cy="108131"/>
              </a:xfrm>
              <a:prstGeom prst="rect">
                <a:avLst/>
              </a:prstGeom>
              <a:solidFill>
                <a:srgbClr val="26347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A4E88B08-2460-48BB-B8A6-66A1A58DC3CE}"/>
                  </a:ext>
                </a:extLst>
              </p:cNvPr>
              <p:cNvSpPr/>
              <p:nvPr/>
            </p:nvSpPr>
            <p:spPr>
              <a:xfrm>
                <a:off x="-5717236" y="6479423"/>
                <a:ext cx="577969" cy="108131"/>
              </a:xfrm>
              <a:prstGeom prst="rect">
                <a:avLst/>
              </a:prstGeom>
              <a:solidFill>
                <a:srgbClr val="263473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BD2FA1F7-834B-489B-916A-6AB1F58E7EED}"/>
              </a:ext>
            </a:extLst>
          </p:cNvPr>
          <p:cNvSpPr txBox="1">
            <a:spLocks/>
          </p:cNvSpPr>
          <p:nvPr/>
        </p:nvSpPr>
        <p:spPr>
          <a:xfrm>
            <a:off x="6838239" y="1694597"/>
            <a:ext cx="2401723" cy="530067"/>
          </a:xfrm>
          <a:prstGeom prst="rect">
            <a:avLst/>
          </a:prstGeom>
        </p:spPr>
        <p:txBody>
          <a:bodyPr anchor="ctr" anchorCtr="0"/>
          <a:lstStyle>
            <a:lvl1pPr marL="0" indent="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sz="7500" b="1" i="0" kern="1200">
                <a:solidFill>
                  <a:srgbClr val="3369FF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198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sym typeface="Segoe UI" panose="020B0502040204020203" pitchFamily="34" charset="0"/>
              </a:rPr>
              <a:t>Private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877D0D9-3D64-4251-948B-26BFDB137E83}"/>
              </a:ext>
            </a:extLst>
          </p:cNvPr>
          <p:cNvSpPr txBox="1">
            <a:spLocks/>
          </p:cNvSpPr>
          <p:nvPr/>
        </p:nvSpPr>
        <p:spPr>
          <a:xfrm>
            <a:off x="6119857" y="2317743"/>
            <a:ext cx="2800773" cy="11456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28575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Credit Report</a:t>
            </a:r>
          </a:p>
          <a:p>
            <a:pPr marL="28575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inancial Aid Office</a:t>
            </a:r>
          </a:p>
          <a:p>
            <a:pPr marL="285750" indent="-28575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ersonal Records</a:t>
            </a:r>
          </a:p>
        </p:txBody>
      </p:sp>
    </p:spTree>
    <p:extLst>
      <p:ext uri="{BB962C8B-B14F-4D97-AF65-F5344CB8AC3E}">
        <p14:creationId xmlns:p14="http://schemas.microsoft.com/office/powerpoint/2010/main" val="3262014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164E6-165B-4B31-9E35-036798EF76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6611" y="459462"/>
            <a:ext cx="6093389" cy="990782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Federal Student Loan Programs 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EDC7ADB7-682E-4E05-B273-F3B4987AB28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6620540"/>
              </p:ext>
            </p:extLst>
          </p:nvPr>
        </p:nvGraphicFramePr>
        <p:xfrm>
          <a:off x="0" y="975305"/>
          <a:ext cx="10972800" cy="650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516FE9D-A052-486A-A331-9449F23C06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6612" y="4369687"/>
            <a:ext cx="1813102" cy="18131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F97993C-7251-41FE-9312-7A8D102EF92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3061" t="14071" r="13528" b="15323"/>
          <a:stretch/>
        </p:blipFill>
        <p:spPr>
          <a:xfrm>
            <a:off x="6044540" y="4555226"/>
            <a:ext cx="1499324" cy="1442025"/>
          </a:xfrm>
          <a:prstGeom prst="rect">
            <a:avLst/>
          </a:prstGeom>
        </p:spPr>
      </p:pic>
      <p:sp>
        <p:nvSpPr>
          <p:cNvPr id="8" name="Footnotes">
            <a:extLst>
              <a:ext uri="{FF2B5EF4-FFF2-40B4-BE49-F238E27FC236}">
                <a16:creationId xmlns:a16="http://schemas.microsoft.com/office/drawing/2014/main" id="{278BCA10-FF49-487C-ABBF-2CBD2B1E29D7}"/>
              </a:ext>
            </a:extLst>
          </p:cNvPr>
          <p:cNvSpPr txBox="1"/>
          <p:nvPr/>
        </p:nvSpPr>
        <p:spPr>
          <a:xfrm>
            <a:off x="5650831" y="6042622"/>
            <a:ext cx="2157662" cy="28033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ctr"/>
            <a:r>
              <a:rPr lang="en-US" sz="900">
                <a:solidFill>
                  <a:schemeClr val="bg1"/>
                </a:solidFill>
                <a:latin typeface="+mn-lt"/>
              </a:rPr>
              <a:t>**Only Direct Loans qualify for PSLF**</a:t>
            </a:r>
            <a:endParaRPr lang="en-US" sz="9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1441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164E6-165B-4B31-9E35-036798EF76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Federal </a:t>
            </a:r>
          </a:p>
        </p:txBody>
      </p:sp>
      <p:pic>
        <p:nvPicPr>
          <p:cNvPr id="78850" name="Picture 2" descr="697534667">
            <a:extLst>
              <a:ext uri="{FF2B5EF4-FFF2-40B4-BE49-F238E27FC236}">
                <a16:creationId xmlns:a16="http://schemas.microsoft.com/office/drawing/2014/main" id="{E7E56D48-0288-487D-8015-3001FC90FD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1" t="9379" r="9493"/>
          <a:stretch/>
        </p:blipFill>
        <p:spPr bwMode="auto">
          <a:xfrm>
            <a:off x="-3" y="0"/>
            <a:ext cx="10972803" cy="7457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CA136BC-50C0-44AA-B10A-77AAE383B793}"/>
              </a:ext>
            </a:extLst>
          </p:cNvPr>
          <p:cNvSpPr/>
          <p:nvPr/>
        </p:nvSpPr>
        <p:spPr>
          <a:xfrm>
            <a:off x="0" y="6757059"/>
            <a:ext cx="10972803" cy="1472539"/>
          </a:xfrm>
          <a:prstGeom prst="rect">
            <a:avLst/>
          </a:prstGeom>
          <a:solidFill>
            <a:srgbClr val="336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200" b="1" dirty="0">
                <a:solidFill>
                  <a:srgbClr val="FFFFFF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Repayment Plans</a:t>
            </a:r>
          </a:p>
        </p:txBody>
      </p:sp>
      <p:sp>
        <p:nvSpPr>
          <p:cNvPr id="9" name="Rectangle: Folded Corner 8">
            <a:extLst>
              <a:ext uri="{FF2B5EF4-FFF2-40B4-BE49-F238E27FC236}">
                <a16:creationId xmlns:a16="http://schemas.microsoft.com/office/drawing/2014/main" id="{871CD5CF-14B2-41B5-A101-532F8E74E975}"/>
              </a:ext>
            </a:extLst>
          </p:cNvPr>
          <p:cNvSpPr/>
          <p:nvPr/>
        </p:nvSpPr>
        <p:spPr>
          <a:xfrm>
            <a:off x="220982" y="222662"/>
            <a:ext cx="3389117" cy="3304309"/>
          </a:xfrm>
          <a:prstGeom prst="foldedCorner">
            <a:avLst/>
          </a:prstGeom>
          <a:solidFill>
            <a:schemeClr val="bg1"/>
          </a:solidFill>
          <a:ln w="2857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R="0" lvl="0" indent="166688" defTabSz="914400" eaLnBrk="0" fontAlgn="auto" latinLnBrk="0" hangingPunct="0"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</a:t>
            </a:r>
          </a:p>
          <a:p>
            <a:pPr marR="0" lvl="0" indent="166688" defTabSz="914400" eaLnBrk="0" fontAlgn="auto" latinLnBrk="0" hangingPunct="0"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kern="0" dirty="0">
              <a:solidFill>
                <a:srgbClr val="002677"/>
              </a:solidFill>
              <a:latin typeface="Arial"/>
            </a:endParaRPr>
          </a:p>
          <a:p>
            <a:pPr marR="0" lvl="0" indent="166688" defTabSz="914400" eaLnBrk="0" fontAlgn="auto" latinLnBrk="0" hangingPunct="0"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8650" algn="l"/>
              </a:tabLst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6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Based on Income:</a:t>
            </a:r>
          </a:p>
          <a:p>
            <a:pPr marL="855663" lvl="0" indent="-227013" defTabSz="914400" fontAlgn="auto">
              <a:spcBef>
                <a:spcPts val="1000"/>
              </a:spcBef>
              <a:spcAft>
                <a:spcPts val="600"/>
              </a:spcAft>
              <a:buSzPct val="120000"/>
              <a:buFontTx/>
              <a:buChar char="-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y as you earn</a:t>
            </a:r>
          </a:p>
          <a:p>
            <a:pPr marL="855663" lvl="0" indent="-227013" defTabSz="914400" fontAlgn="auto">
              <a:spcAft>
                <a:spcPts val="600"/>
              </a:spcAft>
              <a:buSzPct val="120000"/>
              <a:buFontTx/>
              <a:buChar char="-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ome-contingent</a:t>
            </a:r>
          </a:p>
          <a:p>
            <a:pPr marL="855663" lvl="0" indent="-227013" defTabSz="914400" fontAlgn="auto">
              <a:spcAft>
                <a:spcPts val="600"/>
              </a:spcAft>
              <a:buSzPct val="120000"/>
              <a:buFontTx/>
              <a:buChar char="-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ome-based</a:t>
            </a:r>
            <a:endParaRPr lang="en-US" kern="0" dirty="0">
              <a:solidFill>
                <a:srgbClr val="002677"/>
              </a:solidFill>
              <a:latin typeface="Arial"/>
            </a:endParaRPr>
          </a:p>
          <a:p>
            <a:pPr indent="166688" defTabSz="914400" eaLnBrk="0" hangingPunct="0">
              <a:spcBef>
                <a:spcPts val="1000"/>
              </a:spcBef>
              <a:tabLst>
                <a:tab pos="628650" algn="l"/>
              </a:tabLst>
              <a:defRPr/>
            </a:pPr>
            <a:r>
              <a:rPr lang="en-US" b="1" kern="0" dirty="0">
                <a:solidFill>
                  <a:srgbClr val="002677"/>
                </a:solidFill>
                <a:latin typeface="Arial"/>
              </a:rPr>
              <a:t>	Based on Loan Debt:</a:t>
            </a:r>
          </a:p>
          <a:p>
            <a:pPr marL="855663" indent="-227013" defTabSz="914400">
              <a:spcBef>
                <a:spcPts val="1000"/>
              </a:spcBef>
              <a:spcAft>
                <a:spcPts val="600"/>
              </a:spcAft>
              <a:buSzPct val="120000"/>
              <a:buFontTx/>
              <a:buChar char="-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aduated</a:t>
            </a:r>
          </a:p>
          <a:p>
            <a:pPr marL="855663" indent="-227013" defTabSz="914400">
              <a:spcAft>
                <a:spcPts val="600"/>
              </a:spcAft>
              <a:buSzPct val="120000"/>
              <a:buFontTx/>
              <a:buChar char="-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xtended</a:t>
            </a:r>
          </a:p>
          <a:p>
            <a:pPr marL="855663" indent="-227013" defTabSz="914400">
              <a:spcAft>
                <a:spcPts val="600"/>
              </a:spcAft>
              <a:buSzPct val="120000"/>
              <a:buFontTx/>
              <a:buChar char="-"/>
              <a:defRPr/>
            </a:pPr>
            <a:r>
              <a:rPr lang="en-US" dirty="0">
                <a:solidFill>
                  <a:srgbClr val="002677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Standard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351F287-CDBF-4F59-9D2E-53A9AA97F816}"/>
              </a:ext>
            </a:extLst>
          </p:cNvPr>
          <p:cNvSpPr/>
          <p:nvPr/>
        </p:nvSpPr>
        <p:spPr>
          <a:xfrm>
            <a:off x="339739" y="1971116"/>
            <a:ext cx="417516" cy="375940"/>
          </a:xfrm>
          <a:prstGeom prst="ellipse">
            <a:avLst/>
          </a:prstGeom>
          <a:solidFill>
            <a:srgbClr val="3369FF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2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9620C5F0-382D-4F04-ACAF-8E196B1CB740}"/>
              </a:ext>
            </a:extLst>
          </p:cNvPr>
          <p:cNvSpPr/>
          <p:nvPr/>
        </p:nvSpPr>
        <p:spPr>
          <a:xfrm>
            <a:off x="339739" y="420512"/>
            <a:ext cx="417516" cy="375940"/>
          </a:xfrm>
          <a:prstGeom prst="ellipse">
            <a:avLst/>
          </a:prstGeom>
          <a:solidFill>
            <a:srgbClr val="3369FF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7638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5A97EDD-A743-4278-B61A-EA03C7A0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C7AFF3D-0B71-614B-ACB6-7F45BDA6A83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F164E6-165B-4B31-9E35-036798EF76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6611" y="459462"/>
            <a:ext cx="7260470" cy="990782"/>
          </a:xfrm>
        </p:spPr>
        <p:txBody>
          <a:bodyPr/>
          <a:lstStyle/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Repayment Plans: What Qualifies for PSLF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85C5904D-F635-472B-9B49-66702D114990}"/>
              </a:ext>
            </a:extLst>
          </p:cNvPr>
          <p:cNvSpPr txBox="1">
            <a:spLocks/>
          </p:cNvSpPr>
          <p:nvPr/>
        </p:nvSpPr>
        <p:spPr>
          <a:xfrm>
            <a:off x="5887262" y="1641459"/>
            <a:ext cx="3866583" cy="2758352"/>
          </a:xfrm>
          <a:prstGeom prst="rect">
            <a:avLst/>
          </a:prstGeom>
          <a:solidFill>
            <a:srgbClr val="FF9999"/>
          </a:solidFill>
        </p:spPr>
        <p:txBody>
          <a:bodyPr anchor="ctr" anchorCtr="0"/>
          <a:lstStyle>
            <a:lvl1pPr marL="274300" indent="-27430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2400" b="1" dirty="0">
                <a:solidFill>
                  <a:srgbClr val="000000"/>
                </a:solidFill>
              </a:rPr>
              <a:t>Graduated Repayment </a:t>
            </a:r>
          </a:p>
          <a:p>
            <a:pPr marL="0" lvl="0" indent="0" algn="ctr">
              <a:buNone/>
            </a:pPr>
            <a:r>
              <a:rPr lang="en-US" sz="2000" dirty="0">
                <a:solidFill>
                  <a:srgbClr val="000000"/>
                </a:solidFill>
              </a:rPr>
              <a:t>Starts with small payments, then increases over time 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325480E-6D58-4051-84B3-FBB060F0876B}"/>
              </a:ext>
            </a:extLst>
          </p:cNvPr>
          <p:cNvSpPr txBox="1">
            <a:spLocks/>
          </p:cNvSpPr>
          <p:nvPr/>
        </p:nvSpPr>
        <p:spPr>
          <a:xfrm>
            <a:off x="1339540" y="1641459"/>
            <a:ext cx="4051857" cy="2758352"/>
          </a:xfrm>
          <a:prstGeom prst="rect">
            <a:avLst/>
          </a:prstGeom>
          <a:solidFill>
            <a:srgbClr val="00D9A7">
              <a:lumMod val="20000"/>
              <a:lumOff val="80000"/>
            </a:srgbClr>
          </a:solidFill>
        </p:spPr>
        <p:txBody>
          <a:bodyPr anchor="ctr" anchorCtr="0"/>
          <a:lstStyle>
            <a:lvl1pPr marL="274320" indent="-274320" algn="l" defTabSz="109728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52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9728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Year Standard</a:t>
            </a:r>
          </a:p>
          <a:p>
            <a:pPr marL="0" lvl="0" indent="0" algn="ctr">
              <a:buNone/>
            </a:pPr>
            <a:r>
              <a:rPr lang="en-US" sz="2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ys off entire balance and interest in 10 years, typically highest monthly payment op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D64C376-66B4-44BF-814D-D88A62E01A3F}"/>
              </a:ext>
            </a:extLst>
          </p:cNvPr>
          <p:cNvSpPr txBox="1"/>
          <p:nvPr/>
        </p:nvSpPr>
        <p:spPr>
          <a:xfrm>
            <a:off x="2611406" y="1061855"/>
            <a:ext cx="1508125" cy="3275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2800" b="1" dirty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Qualifies: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D45AB4-58B1-4FBB-B697-5A5CA7803E88}"/>
              </a:ext>
            </a:extLst>
          </p:cNvPr>
          <p:cNvSpPr txBox="1"/>
          <p:nvPr/>
        </p:nvSpPr>
        <p:spPr>
          <a:xfrm>
            <a:off x="7066491" y="1050474"/>
            <a:ext cx="1508125" cy="32756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US" sz="2800" b="1" dirty="0">
                <a:solidFill>
                  <a:srgbClr val="3369FF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es Not Qualify: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AE5CFD1-54EF-43E7-804F-4A5648D42AF4}"/>
              </a:ext>
            </a:extLst>
          </p:cNvPr>
          <p:cNvSpPr txBox="1">
            <a:spLocks/>
          </p:cNvSpPr>
          <p:nvPr/>
        </p:nvSpPr>
        <p:spPr>
          <a:xfrm>
            <a:off x="1339539" y="4651854"/>
            <a:ext cx="4051857" cy="2758352"/>
          </a:xfrm>
          <a:prstGeom prst="rect">
            <a:avLst/>
          </a:prstGeom>
          <a:solidFill>
            <a:srgbClr val="00D9A7">
              <a:lumMod val="20000"/>
              <a:lumOff val="80000"/>
            </a:srgbClr>
          </a:solidFill>
        </p:spPr>
        <p:txBody>
          <a:bodyPr anchor="ctr" anchorCtr="0"/>
          <a:lstStyle>
            <a:lvl1pPr marL="274320" indent="-274320" algn="l" defTabSz="109728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33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229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202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6888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1752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616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80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440" indent="-274320" algn="l" defTabSz="109728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2400" b="1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ome-Driven Repayment </a:t>
            </a:r>
          </a:p>
          <a:p>
            <a:pPr marL="0" lvl="0" indent="0" algn="ctr">
              <a:buNone/>
            </a:pPr>
            <a:r>
              <a:rPr lang="en-US" sz="20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SLF Required (4 types):</a:t>
            </a:r>
          </a:p>
          <a:p>
            <a:pPr marL="285750" lvl="0" indent="-285750" algn="ctr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ay As You Earn (PAYE)</a:t>
            </a:r>
          </a:p>
          <a:p>
            <a:pPr marL="285750" lvl="0" indent="-285750" algn="ctr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vised Pay As You Earn (REPAYE)</a:t>
            </a:r>
          </a:p>
          <a:p>
            <a:pPr marL="285750" lvl="0" indent="-285750" algn="ctr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ome-Based Repayment (IBR)</a:t>
            </a:r>
          </a:p>
          <a:p>
            <a:pPr marL="285750" lvl="0" indent="-285750" algn="ctr">
              <a:buFont typeface="+mj-lt"/>
              <a:buAutoNum type="arabicPeriod"/>
            </a:pPr>
            <a:r>
              <a:rPr lang="en-US" sz="1800" dirty="0">
                <a:solidFill>
                  <a:srgbClr val="0000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ncome-Based Contingent Repayment (ICR))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7BE39EA-1BE7-40AA-B9FC-0AD261732939}"/>
              </a:ext>
            </a:extLst>
          </p:cNvPr>
          <p:cNvSpPr txBox="1">
            <a:spLocks/>
          </p:cNvSpPr>
          <p:nvPr/>
        </p:nvSpPr>
        <p:spPr>
          <a:xfrm>
            <a:off x="5887262" y="4663235"/>
            <a:ext cx="3866583" cy="2746971"/>
          </a:xfrm>
          <a:prstGeom prst="rect">
            <a:avLst/>
          </a:prstGeom>
          <a:solidFill>
            <a:srgbClr val="FF9999"/>
          </a:solidFill>
        </p:spPr>
        <p:txBody>
          <a:bodyPr anchor="ctr" anchorCtr="0"/>
          <a:lstStyle>
            <a:lvl1pPr marL="274300" indent="-274300" algn="l" defTabSz="1097198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822898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3714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9200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rgbClr val="002577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468696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30172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65894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114492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63090" indent="-274300" algn="l" defTabSz="1097198" rtl="0" eaLnBrk="1" latinLnBrk="0" hangingPunct="1">
              <a:lnSpc>
                <a:spcPct val="90000"/>
              </a:lnSpc>
              <a:spcBef>
                <a:spcPts val="601"/>
              </a:spcBef>
              <a:buFont typeface="Arial" panose="020B0604020202020204" pitchFamily="34" charset="0"/>
              <a:buChar char="•"/>
              <a:defRPr sz="21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buNone/>
            </a:pPr>
            <a:r>
              <a:rPr lang="en-US" sz="2400" b="1" dirty="0">
                <a:solidFill>
                  <a:srgbClr val="000000"/>
                </a:solidFill>
              </a:rPr>
              <a:t>Extended Repayment </a:t>
            </a:r>
          </a:p>
          <a:p>
            <a:pPr marL="0" lvl="0" indent="0" algn="ctr">
              <a:buNone/>
            </a:pPr>
            <a:r>
              <a:rPr lang="en-US" sz="2000" dirty="0">
                <a:solidFill>
                  <a:srgbClr val="000000"/>
                </a:solidFill>
              </a:rPr>
              <a:t>20-to-30-year extended plan, drags out loans for low payments </a:t>
            </a:r>
          </a:p>
        </p:txBody>
      </p:sp>
    </p:spTree>
    <p:extLst>
      <p:ext uri="{BB962C8B-B14F-4D97-AF65-F5344CB8AC3E}">
        <p14:creationId xmlns:p14="http://schemas.microsoft.com/office/powerpoint/2010/main" val="16097432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FB2B4C-C345-3B48-9DA4-A0F6BD0E80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0298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4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AFB2B4C-C345-3B48-9DA4-A0F6BD0E80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0298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99F0E63-98F3-8A4B-9723-EA6055FACB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solidFill>
                  <a:srgbClr val="002577"/>
                </a:solidFill>
                <a:latin typeface="Segoe UI" panose="020B0502040204020203" pitchFamily="34" charset="0"/>
                <a:sym typeface="Segoe UI" panose="020B0502040204020203" pitchFamily="34" charset="0"/>
              </a:rPr>
              <a:t>Forgiveness Plans</a:t>
            </a:r>
          </a:p>
        </p:txBody>
      </p:sp>
    </p:spTree>
    <p:extLst>
      <p:ext uri="{BB962C8B-B14F-4D97-AF65-F5344CB8AC3E}">
        <p14:creationId xmlns:p14="http://schemas.microsoft.com/office/powerpoint/2010/main" val="22000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GBSdt1OEDi4oWn_PHc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_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6500" b="1" dirty="0">
            <a:solidFill>
              <a:schemeClr val="bg1"/>
            </a:solidFill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White_Master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2_EQ Blue Master Slides">
  <a:themeElements>
    <a:clrScheme name="Custom 1">
      <a:dk1>
        <a:srgbClr val="002577"/>
      </a:dk1>
      <a:lt1>
        <a:srgbClr val="3369FF"/>
      </a:lt1>
      <a:dk2>
        <a:srgbClr val="73BEFF"/>
      </a:dk2>
      <a:lt2>
        <a:srgbClr val="FFFFFF"/>
      </a:lt2>
      <a:accent1>
        <a:srgbClr val="E9E9E9"/>
      </a:accent1>
      <a:accent2>
        <a:srgbClr val="74787B"/>
      </a:accent2>
      <a:accent3>
        <a:srgbClr val="000000"/>
      </a:accent3>
      <a:accent4>
        <a:srgbClr val="7153FA"/>
      </a:accent4>
      <a:accent5>
        <a:srgbClr val="8C2432"/>
      </a:accent5>
      <a:accent6>
        <a:srgbClr val="FF6157"/>
      </a:accent6>
      <a:hlink>
        <a:srgbClr val="F3CD30"/>
      </a:hlink>
      <a:folHlink>
        <a:srgbClr val="00257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4_White_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6500" b="1" dirty="0">
            <a:solidFill>
              <a:schemeClr val="bg1"/>
            </a:solidFill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3_EQ Blue Master Slides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quitable ppt template_4x3.pptx" id="{ACBD7E0C-340A-46E0-8A9C-CDE9D3EBAABA}" vid="{F028FEA7-3F40-4A7E-A692-C313BB992AD4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Q Blue 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edium Blue 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ight Blue 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White_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6500" b="1" dirty="0">
            <a:solidFill>
              <a:schemeClr val="bg1"/>
            </a:solidFill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White_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6500" b="1" dirty="0">
            <a:solidFill>
              <a:schemeClr val="bg1"/>
            </a:solidFill>
            <a:latin typeface="Helvetica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_EQ Blue 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Medium Blue 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Light Blue Master Slides">
  <a:themeElements>
    <a:clrScheme name="Equitable Brand Colors">
      <a:dk1>
        <a:srgbClr val="000000"/>
      </a:dk1>
      <a:lt1>
        <a:srgbClr val="FFFFFF"/>
      </a:lt1>
      <a:dk2>
        <a:srgbClr val="002677"/>
      </a:dk2>
      <a:lt2>
        <a:srgbClr val="FFFFFF"/>
      </a:lt2>
      <a:accent1>
        <a:srgbClr val="336AFF"/>
      </a:accent1>
      <a:accent2>
        <a:srgbClr val="73BFFF"/>
      </a:accent2>
      <a:accent3>
        <a:srgbClr val="00D9A7"/>
      </a:accent3>
      <a:accent4>
        <a:srgbClr val="005F66"/>
      </a:accent4>
      <a:accent5>
        <a:srgbClr val="75787B"/>
      </a:accent5>
      <a:accent6>
        <a:srgbClr val="7153FA"/>
      </a:accent6>
      <a:hlink>
        <a:srgbClr val="73BFFF"/>
      </a:hlink>
      <a:folHlink>
        <a:srgbClr val="8C253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5B15BC59FD264A9B3661840B08D5EB" ma:contentTypeVersion="17" ma:contentTypeDescription="Create a new document." ma:contentTypeScope="" ma:versionID="cbdf9058524b2f5f85780154a3c8d49a">
  <xsd:schema xmlns:xsd="http://www.w3.org/2001/XMLSchema" xmlns:xs="http://www.w3.org/2001/XMLSchema" xmlns:p="http://schemas.microsoft.com/office/2006/metadata/properties" xmlns:ns1="http://schemas.microsoft.com/sharepoint/v3" xmlns:ns3="a0da5d3a-9712-4207-ab84-cf4d4ded5c9d" xmlns:ns4="9d8a5b83-0acb-4ba8-ac38-e3c8f5018519" targetNamespace="http://schemas.microsoft.com/office/2006/metadata/properties" ma:root="true" ma:fieldsID="c9d2f5c25a3ca8b7b0d016bd28ce10e6" ns1:_="" ns3:_="" ns4:_="">
    <xsd:import namespace="http://schemas.microsoft.com/sharepoint/v3"/>
    <xsd:import namespace="a0da5d3a-9712-4207-ab84-cf4d4ded5c9d"/>
    <xsd:import namespace="9d8a5b83-0acb-4ba8-ac38-e3c8f501851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1:_ip_UnifiedCompliancePolicyProperties" minOccurs="0"/>
                <xsd:element ref="ns1:_ip_UnifiedCompliancePolicyUIAction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da5d3a-9712-4207-ab84-cf4d4ded5c9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8a5b83-0acb-4ba8-ac38-e3c8f50185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3B135B-5CC2-45DE-ABCF-707F16AABA3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8BF711-BE5D-4B18-9130-CF5097C91A3F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9d8a5b83-0acb-4ba8-ac38-e3c8f5018519"/>
    <ds:schemaRef ds:uri="http://schemas.microsoft.com/office/infopath/2007/PartnerControls"/>
    <ds:schemaRef ds:uri="http://purl.org/dc/elements/1.1/"/>
    <ds:schemaRef ds:uri="a0da5d3a-9712-4207-ab84-cf4d4ded5c9d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F45EEC8-58E3-4D6C-A8EC-E18F710652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da5d3a-9712-4207-ab84-cf4d4ded5c9d"/>
    <ds:schemaRef ds:uri="9d8a5b83-0acb-4ba8-ac38-e3c8f50185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804</TotalTime>
  <Words>705</Words>
  <Application>Microsoft Office PowerPoint</Application>
  <PresentationFormat>Custom</PresentationFormat>
  <Paragraphs>130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4" baseType="lpstr">
      <vt:lpstr>Arial</vt:lpstr>
      <vt:lpstr>Calibri</vt:lpstr>
      <vt:lpstr>Calibri Light</vt:lpstr>
      <vt:lpstr>Courier New</vt:lpstr>
      <vt:lpstr>GT America</vt:lpstr>
      <vt:lpstr>Helvetica</vt:lpstr>
      <vt:lpstr>IBM Eliot Sans</vt:lpstr>
      <vt:lpstr>IBM Eliot Sans Medium</vt:lpstr>
      <vt:lpstr>IBM Plex Sans</vt:lpstr>
      <vt:lpstr>IBM Plex Sans Light</vt:lpstr>
      <vt:lpstr>IBM Plex Sans Medium</vt:lpstr>
      <vt:lpstr>Segoe UI</vt:lpstr>
      <vt:lpstr>Source Sans Pro</vt:lpstr>
      <vt:lpstr>White_Master slides</vt:lpstr>
      <vt:lpstr>EQ Blue Master Slides</vt:lpstr>
      <vt:lpstr>Medium Blue Master slides</vt:lpstr>
      <vt:lpstr>Light Blue Master Slides</vt:lpstr>
      <vt:lpstr>1_White_Master slides</vt:lpstr>
      <vt:lpstr>2_White_Master slides</vt:lpstr>
      <vt:lpstr>1_EQ Blue Master Slides</vt:lpstr>
      <vt:lpstr>1_Medium Blue Master slides</vt:lpstr>
      <vt:lpstr>1_Light Blue Master Slides</vt:lpstr>
      <vt:lpstr>3_White_Master slides</vt:lpstr>
      <vt:lpstr>2_EQ Blue Master Slides</vt:lpstr>
      <vt:lpstr>4_White_Master slides</vt:lpstr>
      <vt:lpstr>3_EQ Blue Master Slides</vt:lpstr>
      <vt:lpstr>think-cell Slide</vt:lpstr>
      <vt:lpstr>PowerPoint Presentation</vt:lpstr>
      <vt:lpstr>Conten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sh Hammock</dc:creator>
  <cp:lastModifiedBy>Nicole Giarrusso</cp:lastModifiedBy>
  <cp:revision>1004</cp:revision>
  <cp:lastPrinted>2019-12-30T16:20:15Z</cp:lastPrinted>
  <dcterms:created xsi:type="dcterms:W3CDTF">2019-07-19T18:11:56Z</dcterms:created>
  <dcterms:modified xsi:type="dcterms:W3CDTF">2020-12-01T15:3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5B15BC59FD264A9B3661840B08D5EB</vt:lpwstr>
  </property>
</Properties>
</file>